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15"/>
  </p:notesMasterIdLst>
  <p:handoutMasterIdLst>
    <p:handoutMasterId r:id="rId16"/>
  </p:handoutMasterIdLst>
  <p:sldIdLst>
    <p:sldId id="3538" r:id="rId5"/>
    <p:sldId id="2974" r:id="rId6"/>
    <p:sldId id="3550" r:id="rId7"/>
    <p:sldId id="3551" r:id="rId8"/>
    <p:sldId id="3552" r:id="rId9"/>
    <p:sldId id="3553" r:id="rId10"/>
    <p:sldId id="3554" r:id="rId11"/>
    <p:sldId id="3555" r:id="rId12"/>
    <p:sldId id="3556" r:id="rId13"/>
    <p:sldId id="3557" r:id="rId14"/>
  </p:sldIdLst>
  <p:sldSz cx="12192000" cy="6858000"/>
  <p:notesSz cx="6858000" cy="9144000"/>
  <p:custDataLst>
    <p:tags r:id="rId17"/>
  </p:custDataLst>
  <p:defaultTextStyle>
    <a:defPPr>
      <a:defRPr lang="de-DE"/>
    </a:defPPr>
    <a:lvl1pPr marL="0" algn="l" defTabSz="914377" rtl="0" eaLnBrk="1" latinLnBrk="0" hangingPunct="1">
      <a:defRPr sz="1867" kern="1200">
        <a:solidFill>
          <a:schemeClr val="tx1"/>
        </a:solidFill>
        <a:latin typeface="+mn-lt"/>
        <a:ea typeface="+mn-ea"/>
        <a:cs typeface="+mn-cs"/>
      </a:defRPr>
    </a:lvl1pPr>
    <a:lvl2pPr marL="457189" algn="l" defTabSz="914377" rtl="0" eaLnBrk="1" latinLnBrk="0" hangingPunct="1">
      <a:defRPr sz="1867" kern="1200">
        <a:solidFill>
          <a:schemeClr val="tx1"/>
        </a:solidFill>
        <a:latin typeface="+mn-lt"/>
        <a:ea typeface="+mn-ea"/>
        <a:cs typeface="+mn-cs"/>
      </a:defRPr>
    </a:lvl2pPr>
    <a:lvl3pPr marL="914377" algn="l" defTabSz="914377" rtl="0" eaLnBrk="1" latinLnBrk="0" hangingPunct="1">
      <a:defRPr sz="1867" kern="1200">
        <a:solidFill>
          <a:schemeClr val="tx1"/>
        </a:solidFill>
        <a:latin typeface="+mn-lt"/>
        <a:ea typeface="+mn-ea"/>
        <a:cs typeface="+mn-cs"/>
      </a:defRPr>
    </a:lvl3pPr>
    <a:lvl4pPr marL="1371566" algn="l" defTabSz="914377" rtl="0" eaLnBrk="1" latinLnBrk="0" hangingPunct="1">
      <a:defRPr sz="1867" kern="1200">
        <a:solidFill>
          <a:schemeClr val="tx1"/>
        </a:solidFill>
        <a:latin typeface="+mn-lt"/>
        <a:ea typeface="+mn-ea"/>
        <a:cs typeface="+mn-cs"/>
      </a:defRPr>
    </a:lvl4pPr>
    <a:lvl5pPr marL="1828754" algn="l" defTabSz="914377" rtl="0" eaLnBrk="1" latinLnBrk="0" hangingPunct="1">
      <a:defRPr sz="1867" kern="1200">
        <a:solidFill>
          <a:schemeClr val="tx1"/>
        </a:solidFill>
        <a:latin typeface="+mn-lt"/>
        <a:ea typeface="+mn-ea"/>
        <a:cs typeface="+mn-cs"/>
      </a:defRPr>
    </a:lvl5pPr>
    <a:lvl6pPr marL="2285943" algn="l" defTabSz="914377" rtl="0" eaLnBrk="1" latinLnBrk="0" hangingPunct="1">
      <a:defRPr sz="1867" kern="1200">
        <a:solidFill>
          <a:schemeClr val="tx1"/>
        </a:solidFill>
        <a:latin typeface="+mn-lt"/>
        <a:ea typeface="+mn-ea"/>
        <a:cs typeface="+mn-cs"/>
      </a:defRPr>
    </a:lvl6pPr>
    <a:lvl7pPr marL="2743131" algn="l" defTabSz="914377" rtl="0" eaLnBrk="1" latinLnBrk="0" hangingPunct="1">
      <a:defRPr sz="1867" kern="1200">
        <a:solidFill>
          <a:schemeClr val="tx1"/>
        </a:solidFill>
        <a:latin typeface="+mn-lt"/>
        <a:ea typeface="+mn-ea"/>
        <a:cs typeface="+mn-cs"/>
      </a:defRPr>
    </a:lvl7pPr>
    <a:lvl8pPr marL="3200320" algn="l" defTabSz="914377" rtl="0" eaLnBrk="1" latinLnBrk="0" hangingPunct="1">
      <a:defRPr sz="1867" kern="1200">
        <a:solidFill>
          <a:schemeClr val="tx1"/>
        </a:solidFill>
        <a:latin typeface="+mn-lt"/>
        <a:ea typeface="+mn-ea"/>
        <a:cs typeface="+mn-cs"/>
      </a:defRPr>
    </a:lvl8pPr>
    <a:lvl9pPr marL="3657509" algn="l" defTabSz="914377" rtl="0" eaLnBrk="1" latinLnBrk="0" hangingPunct="1">
      <a:defRPr sz="1867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Michaela Kapalla" initials="MK" lastIdx="2" clrIdx="6">
    <p:extLst>
      <p:ext uri="{19B8F6BF-5375-455C-9EA6-DF929625EA0E}">
        <p15:presenceInfo xmlns:p15="http://schemas.microsoft.com/office/powerpoint/2012/main" userId="Michaela Kapalla" providerId="None"/>
      </p:ext>
    </p:extLst>
  </p:cmAuthor>
  <p:cmAuthor id="1" name="Laura Haink" initials="LH" lastIdx="20" clrIdx="0"/>
  <p:cmAuthor id="2" name="Timo Glosemeyer" initials="TG" lastIdx="37" clrIdx="1"/>
  <p:cmAuthor id="3" name="Anna Juettner" initials="AJ" lastIdx="2" clrIdx="2"/>
  <p:cmAuthor id="4" name="Cem Kadim" initials="CK" lastIdx="4" clrIdx="3">
    <p:extLst>
      <p:ext uri="{19B8F6BF-5375-455C-9EA6-DF929625EA0E}">
        <p15:presenceInfo xmlns:p15="http://schemas.microsoft.com/office/powerpoint/2012/main" userId="S-1-5-21-2900290652-3162160026-1438150922-1732" providerId="AD"/>
      </p:ext>
    </p:extLst>
  </p:cmAuthor>
  <p:cmAuthor id="5" name="Kayser, Pierre" initials="KP" lastIdx="11" clrIdx="4">
    <p:extLst>
      <p:ext uri="{19B8F6BF-5375-455C-9EA6-DF929625EA0E}">
        <p15:presenceInfo xmlns:p15="http://schemas.microsoft.com/office/powerpoint/2012/main" userId="S-1-5-21-789336058-1078081533-1417001333-3947455" providerId="AD"/>
      </p:ext>
    </p:extLst>
  </p:cmAuthor>
  <p:cmAuthor id="6" name="Larissa Eisele" initials="LE" lastIdx="21" clrIdx="5">
    <p:extLst>
      <p:ext uri="{19B8F6BF-5375-455C-9EA6-DF929625EA0E}">
        <p15:presenceInfo xmlns:p15="http://schemas.microsoft.com/office/powerpoint/2012/main" userId="S::larissa.eisele@mail.schwarz::508a5cf6-1395-4b98-b943-efdd03f5eaec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C9A6488-1760-487B-652A-B45FDD5BC124}" v="3" dt="2022-03-16T07:31:35.487"/>
  </p1510:revLst>
</p1510:revInfo>
</file>

<file path=ppt/tableStyles.xml><?xml version="1.0" encoding="utf-8"?>
<a:tblStyleLst xmlns:a="http://schemas.openxmlformats.org/drawingml/2006/main" def="{2D5ABB26-0587-4C30-8999-92F81FD0307D}">
  <a:tblStyle styleId="{2D5ABB26-0587-4C30-8999-92F81FD0307D}" styleName="Schwarz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a:bottom>
          <a:insideH>
            <a:ln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>
        <a:fontRef idx="major">
          <a:prstClr val="black"/>
        </a:fontRef>
        <a:schemeClr val="tx1"/>
      </a:tcTxStyle>
      <a:tcStyle>
        <a:tcBdr/>
      </a:tcStyle>
    </a:lastCol>
    <a:firstCol>
      <a:tcTxStyle b="on">
        <a:fontRef idx="major">
          <a:prstClr val="black"/>
        </a:fontRef>
        <a:schemeClr val="tx1"/>
      </a:tcTxStyle>
      <a:tcStyle>
        <a:tcBdr/>
      </a:tcStyle>
    </a:firstCol>
    <a:lastRow>
      <a:tcTxStyle b="on">
        <a:fontRef idx="major">
          <a:prstClr val="black"/>
        </a:fontRef>
        <a:schemeClr val="tx1"/>
      </a:tcTxStyle>
      <a:tcStyle>
        <a:tcBdr>
          <a:top>
            <a:ln w="9525" cmpd="sng">
              <a:solidFill>
                <a:schemeClr val="tx1"/>
              </a:solidFill>
            </a:ln>
          </a:top>
          <a:bottom>
            <a:ln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a:bottom>
        </a:tcBdr>
      </a:tcStyle>
    </a:lastRow>
    <a:firstRow>
      <a:tcTxStyle b="on">
        <a:fontRef idx="major">
          <a:prstClr val="black"/>
        </a:fontRef>
        <a:schemeClr val="accent1"/>
      </a:tcTxStyle>
      <a:tcStyle>
        <a:tcBdr>
          <a:bottom>
            <a:ln w="1405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8B1032C-EA38-4F05-BA0D-38AFFFC7BED3}" styleName="Helle Formatvorlage 3 - Akz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429"/>
    <p:restoredTop sz="96327"/>
  </p:normalViewPr>
  <p:slideViewPr>
    <p:cSldViewPr snapToGrid="0">
      <p:cViewPr>
        <p:scale>
          <a:sx n="120" d="100"/>
          <a:sy n="120" d="100"/>
        </p:scale>
        <p:origin x="1000" y="6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23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2E4C84BB-FBE9-492A-89D6-4BA9F7A41E28}"/>
              </a:ext>
            </a:extLst>
          </p:cNvPr>
          <p:cNvSpPr/>
          <p:nvPr userDrawn="1"/>
        </p:nvSpPr>
        <p:spPr bwMode="gray">
          <a:xfrm>
            <a:off x="479424" y="0"/>
            <a:ext cx="645320" cy="89959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3573016" y="251520"/>
            <a:ext cx="2810322" cy="144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200"/>
            </a:lvl1pPr>
          </a:lstStyle>
          <a:p>
            <a:endParaRPr lang="de-DE" sz="1000" dirty="0"/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1"/>
          </p:nvPr>
        </p:nvSpPr>
        <p:spPr bwMode="gray">
          <a:xfrm>
            <a:off x="836792" y="8748480"/>
            <a:ext cx="720000" cy="14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fld id="{1D6D9FFD-86AC-4469-9E57-EF6FBCF59F83}" type="datetime1">
              <a:rPr lang="de-DE" sz="800" smtClean="0"/>
              <a:t>28.06.22</a:t>
            </a:fld>
            <a:endParaRPr lang="de-DE" sz="800" dirty="0"/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2"/>
          </p:nvPr>
        </p:nvSpPr>
        <p:spPr bwMode="gray">
          <a:xfrm>
            <a:off x="1629152" y="8748480"/>
            <a:ext cx="4754186" cy="14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r>
              <a:rPr lang="de-DE" sz="800" dirty="0"/>
              <a:t>Titel der Präsentation</a:t>
            </a:r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3"/>
          </p:nvPr>
        </p:nvSpPr>
        <p:spPr bwMode="gray">
          <a:xfrm>
            <a:off x="477056" y="8748480"/>
            <a:ext cx="287648" cy="14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fld id="{8FF9B0DE-3FEB-4AA0-B465-B80EF7C1333D}" type="slidenum">
              <a:rPr lang="de-DE" sz="800" smtClean="0"/>
              <a:pPr/>
              <a:t>‹#›</a:t>
            </a:fld>
            <a:endParaRPr lang="de-DE" sz="800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659F10D2-CC0B-46BF-BD82-296222E249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3022" y="129502"/>
            <a:ext cx="641722" cy="7930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3861194"/>
      </p:ext>
    </p:extLst>
  </p:cSld>
  <p:clrMap bg1="lt1" tx1="dk1" bg2="lt2" tx2="dk2" accent1="accent1" accent2="accent2" accent3="accent3" accent4="accent4" accent5="accent5" accent6="accent6" hlink="hlink" folHlink="folHlink"/>
  <p:hf hdr="0"/>
  <p:extLst>
    <p:ext uri="{56416CCD-93CA-4268-BC5B-53C4BB910035}">
      <p15:sldGuideLst xmlns:p15="http://schemas.microsoft.com/office/powerpoint/2012/main">
        <p15:guide id="1" pos="302" userDrawn="1">
          <p15:clr>
            <a:srgbClr val="F26B43"/>
          </p15:clr>
        </p15:guide>
        <p15:guide id="2" pos="4021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479673" y="251520"/>
            <a:ext cx="3200400" cy="1800225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476672" y="2411760"/>
            <a:ext cx="5904000" cy="5832192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12" name="Kopfzeilenplatzhalter 1"/>
          <p:cNvSpPr>
            <a:spLocks noGrp="1"/>
          </p:cNvSpPr>
          <p:nvPr>
            <p:ph type="hdr" sz="quarter"/>
          </p:nvPr>
        </p:nvSpPr>
        <p:spPr bwMode="gray">
          <a:xfrm>
            <a:off x="3861048" y="251520"/>
            <a:ext cx="2534742" cy="144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endParaRPr lang="de-DE" sz="1000" dirty="0"/>
          </a:p>
        </p:txBody>
      </p:sp>
      <p:sp>
        <p:nvSpPr>
          <p:cNvPr id="13" name="Datumsplatzhalter 3"/>
          <p:cNvSpPr>
            <a:spLocks noGrp="1"/>
          </p:cNvSpPr>
          <p:nvPr>
            <p:ph type="dt" sz="half" idx="1"/>
          </p:nvPr>
        </p:nvSpPr>
        <p:spPr bwMode="gray">
          <a:xfrm>
            <a:off x="836792" y="8748480"/>
            <a:ext cx="720000" cy="14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B9188053-6DD8-4BF4-8762-7C752856C366}" type="datetime1">
              <a:rPr lang="de-DE" smtClean="0"/>
              <a:t>28.06.22</a:t>
            </a:fld>
            <a:endParaRPr lang="de-DE" dirty="0"/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4"/>
          </p:nvPr>
        </p:nvSpPr>
        <p:spPr bwMode="gray">
          <a:xfrm>
            <a:off x="1629152" y="8748480"/>
            <a:ext cx="4754186" cy="14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Titel der Präsentation</a:t>
            </a:r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5"/>
          </p:nvPr>
        </p:nvSpPr>
        <p:spPr bwMode="gray">
          <a:xfrm>
            <a:off x="477056" y="8748480"/>
            <a:ext cx="287648" cy="14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8FF9B0DE-3FEB-4AA0-B465-B80EF7C1333D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46198732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algn="l" defTabSz="914377" rtl="0" eaLnBrk="1" latinLnBrk="0" hangingPunct="1">
      <a:lnSpc>
        <a:spcPct val="110000"/>
      </a:lnSpc>
      <a:spcBef>
        <a:spcPts val="1200"/>
      </a:spcBef>
      <a:defRPr sz="1100" b="1" i="0" kern="1200">
        <a:solidFill>
          <a:schemeClr val="accent1"/>
        </a:solidFill>
        <a:latin typeface="+mj-lt"/>
        <a:ea typeface="+mn-ea"/>
        <a:cs typeface="+mn-cs"/>
      </a:defRPr>
    </a:lvl1pPr>
    <a:lvl2pPr marL="0" algn="l" defTabSz="914377" rtl="0" eaLnBrk="1" latinLnBrk="0" hangingPunct="1">
      <a:lnSpc>
        <a:spcPct val="110000"/>
      </a:lnSpc>
      <a:spcBef>
        <a:spcPts val="400"/>
      </a:spcBef>
      <a:spcAft>
        <a:spcPts val="400"/>
      </a:spcAft>
      <a:defRPr sz="1100" kern="1200">
        <a:solidFill>
          <a:schemeClr val="tx1"/>
        </a:solidFill>
        <a:latin typeface="+mn-lt"/>
        <a:ea typeface="+mn-ea"/>
        <a:cs typeface="+mn-cs"/>
      </a:defRPr>
    </a:lvl2pPr>
    <a:lvl3pPr marL="143996" indent="-143996" algn="l" defTabSz="914377" rtl="0" eaLnBrk="1" latinLnBrk="0" hangingPunct="1">
      <a:lnSpc>
        <a:spcPct val="110000"/>
      </a:lnSpc>
      <a:spcBef>
        <a:spcPts val="100"/>
      </a:spcBef>
      <a:spcAft>
        <a:spcPts val="100"/>
      </a:spcAft>
      <a:buClr>
        <a:schemeClr val="accent1"/>
      </a:buClr>
      <a:buFont typeface="Wingdings" panose="05000000000000000000" pitchFamily="2" charset="2"/>
      <a:buChar char="§"/>
      <a:defRPr sz="1100" kern="1200">
        <a:solidFill>
          <a:schemeClr val="tx1"/>
        </a:solidFill>
        <a:latin typeface="+mn-lt"/>
        <a:ea typeface="+mn-ea"/>
        <a:cs typeface="+mn-cs"/>
      </a:defRPr>
    </a:lvl3pPr>
    <a:lvl4pPr marL="287993" indent="-143996" algn="l" defTabSz="914377" rtl="0" eaLnBrk="1" latinLnBrk="0" hangingPunct="1">
      <a:lnSpc>
        <a:spcPct val="110000"/>
      </a:lnSpc>
      <a:spcBef>
        <a:spcPts val="100"/>
      </a:spcBef>
      <a:spcAft>
        <a:spcPts val="100"/>
      </a:spcAft>
      <a:buFont typeface="Symbol" panose="05050102010706020507" pitchFamily="18" charset="2"/>
      <a:buChar char="-"/>
      <a:defRPr sz="1100" kern="1200">
        <a:solidFill>
          <a:schemeClr val="tx1"/>
        </a:solidFill>
        <a:latin typeface="+mn-lt"/>
        <a:ea typeface="+mn-ea"/>
        <a:cs typeface="+mn-cs"/>
      </a:defRPr>
    </a:lvl4pPr>
    <a:lvl5pPr marL="431989" indent="-143996" algn="l" defTabSz="914377" rtl="0" eaLnBrk="1" latinLnBrk="0" hangingPunct="1">
      <a:lnSpc>
        <a:spcPct val="110000"/>
      </a:lnSpc>
      <a:spcBef>
        <a:spcPts val="100"/>
      </a:spcBef>
      <a:spcAft>
        <a:spcPts val="100"/>
      </a:spcAft>
      <a:buFont typeface="Symbol" panose="05050102010706020507" pitchFamily="18" charset="2"/>
      <a:buChar char="-"/>
      <a:defRPr sz="1100" kern="1200">
        <a:solidFill>
          <a:schemeClr val="tx1"/>
        </a:solidFill>
        <a:latin typeface="+mn-lt"/>
        <a:ea typeface="+mn-ea"/>
        <a:cs typeface="+mn-cs"/>
      </a:defRPr>
    </a:lvl5pPr>
    <a:lvl6pPr marL="575986" indent="-143996" algn="l" defTabSz="914377" rtl="0" eaLnBrk="1" latinLnBrk="0" hangingPunct="1">
      <a:lnSpc>
        <a:spcPct val="110000"/>
      </a:lnSpc>
      <a:spcBef>
        <a:spcPts val="100"/>
      </a:spcBef>
      <a:spcAft>
        <a:spcPts val="100"/>
      </a:spcAft>
      <a:buFont typeface="Symbol" panose="05050102010706020507" pitchFamily="18" charset="2"/>
      <a:buChar char="-"/>
      <a:defRPr sz="1100" kern="1200">
        <a:solidFill>
          <a:schemeClr val="tx1"/>
        </a:solidFill>
        <a:latin typeface="+mn-lt"/>
        <a:ea typeface="+mn-ea"/>
        <a:cs typeface="+mn-cs"/>
      </a:defRPr>
    </a:lvl6pPr>
    <a:lvl7pPr marL="575986" indent="-143996" algn="l" defTabSz="914377" rtl="0" eaLnBrk="1" latinLnBrk="0" hangingPunct="1">
      <a:lnSpc>
        <a:spcPct val="110000"/>
      </a:lnSpc>
      <a:spcBef>
        <a:spcPts val="100"/>
      </a:spcBef>
      <a:spcAft>
        <a:spcPts val="100"/>
      </a:spcAft>
      <a:buFont typeface="Symbol" panose="05050102010706020507" pitchFamily="18" charset="2"/>
      <a:buChar char="-"/>
      <a:defRPr sz="1100" kern="1200">
        <a:solidFill>
          <a:schemeClr val="tx1"/>
        </a:solidFill>
        <a:latin typeface="+mn-lt"/>
        <a:ea typeface="+mn-ea"/>
        <a:cs typeface="+mn-cs"/>
      </a:defRPr>
    </a:lvl7pPr>
    <a:lvl8pPr marL="575986" indent="-143996" algn="l" defTabSz="914377" rtl="0" eaLnBrk="1" latinLnBrk="0" hangingPunct="1">
      <a:lnSpc>
        <a:spcPct val="110000"/>
      </a:lnSpc>
      <a:spcBef>
        <a:spcPts val="100"/>
      </a:spcBef>
      <a:spcAft>
        <a:spcPts val="100"/>
      </a:spcAft>
      <a:buFont typeface="Symbol" panose="05050102010706020507" pitchFamily="18" charset="2"/>
      <a:buChar char="-"/>
      <a:defRPr sz="1100" kern="1200">
        <a:solidFill>
          <a:schemeClr val="tx1"/>
        </a:solidFill>
        <a:latin typeface="+mn-lt"/>
        <a:ea typeface="+mn-ea"/>
        <a:cs typeface="+mn-cs"/>
      </a:defRPr>
    </a:lvl8pPr>
    <a:lvl9pPr marL="575986" indent="-143996" algn="l" defTabSz="914377" rtl="0" eaLnBrk="1" latinLnBrk="0" hangingPunct="1">
      <a:lnSpc>
        <a:spcPct val="110000"/>
      </a:lnSpc>
      <a:spcBef>
        <a:spcPts val="100"/>
      </a:spcBef>
      <a:spcAft>
        <a:spcPts val="100"/>
      </a:spcAft>
      <a:buFont typeface="Symbol" panose="05050102010706020507" pitchFamily="18" charset="2"/>
      <a:buChar char="-"/>
      <a:defRPr sz="11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pos="302" userDrawn="1">
          <p15:clr>
            <a:srgbClr val="F26B43"/>
          </p15:clr>
        </p15:guide>
        <p15:guide id="2" pos="4021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9425" y="250825"/>
            <a:ext cx="3200400" cy="18002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FF9B0DE-3FEB-4AA0-B465-B80EF7C1333D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E9439807-69E0-4019-A543-D8D0A85340CD}"/>
              </a:ext>
            </a:extLst>
          </p:cNvPr>
          <p:cNvSpPr>
            <a:spLocks noGrp="1"/>
          </p:cNvSpPr>
          <p:nvPr>
            <p:ph type="dt" sz="half" idx="1"/>
          </p:nvPr>
        </p:nvSpPr>
        <p:spPr/>
        <p:txBody>
          <a:bodyPr/>
          <a:lstStyle/>
          <a:p>
            <a:fld id="{B738E61D-266F-4DA1-B55C-6A370C6160A1}" type="datetime1">
              <a:rPr lang="de-DE" smtClean="0"/>
              <a:t>28.06.22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4990B73-6F2F-4D7C-A2ED-5422F98635E9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 dirty="0"/>
              <a:t>Titel der Präsentation</a:t>
            </a:r>
          </a:p>
        </p:txBody>
      </p:sp>
    </p:spTree>
    <p:extLst>
      <p:ext uri="{BB962C8B-B14F-4D97-AF65-F5344CB8AC3E}">
        <p14:creationId xmlns:p14="http://schemas.microsoft.com/office/powerpoint/2010/main" val="3865156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9425" y="250825"/>
            <a:ext cx="3200400" cy="18002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FF9B0DE-3FEB-4AA0-B465-B80EF7C1333D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3B23E096-2E93-4973-8040-82840F068DF2}"/>
              </a:ext>
            </a:extLst>
          </p:cNvPr>
          <p:cNvSpPr>
            <a:spLocks noGrp="1"/>
          </p:cNvSpPr>
          <p:nvPr>
            <p:ph type="dt" sz="half" idx="1"/>
          </p:nvPr>
        </p:nvSpPr>
        <p:spPr/>
        <p:txBody>
          <a:bodyPr/>
          <a:lstStyle/>
          <a:p>
            <a:fld id="{DE66D679-688A-424D-ADB0-B46F82F91CE6}" type="datetime1">
              <a:rPr lang="de-DE" smtClean="0"/>
              <a:t>28.06.22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316DD00-37FF-4EE9-89AB-6B06597640E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 dirty="0"/>
              <a:t>Titel der Präsentation</a:t>
            </a:r>
          </a:p>
        </p:txBody>
      </p:sp>
    </p:spTree>
    <p:extLst>
      <p:ext uri="{BB962C8B-B14F-4D97-AF65-F5344CB8AC3E}">
        <p14:creationId xmlns:p14="http://schemas.microsoft.com/office/powerpoint/2010/main" val="85034218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9425" y="250825"/>
            <a:ext cx="3200400" cy="18002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FF9B0DE-3FEB-4AA0-B465-B80EF7C1333D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3B23E096-2E93-4973-8040-82840F068DF2}"/>
              </a:ext>
            </a:extLst>
          </p:cNvPr>
          <p:cNvSpPr>
            <a:spLocks noGrp="1"/>
          </p:cNvSpPr>
          <p:nvPr>
            <p:ph type="dt" sz="half" idx="1"/>
          </p:nvPr>
        </p:nvSpPr>
        <p:spPr/>
        <p:txBody>
          <a:bodyPr/>
          <a:lstStyle/>
          <a:p>
            <a:fld id="{DE66D679-688A-424D-ADB0-B46F82F91CE6}" type="datetime1">
              <a:rPr lang="de-DE" smtClean="0"/>
              <a:t>28.06.22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316DD00-37FF-4EE9-89AB-6B06597640E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 dirty="0"/>
              <a:t>Titel der Präsentation</a:t>
            </a:r>
          </a:p>
        </p:txBody>
      </p:sp>
    </p:spTree>
    <p:extLst>
      <p:ext uri="{BB962C8B-B14F-4D97-AF65-F5344CB8AC3E}">
        <p14:creationId xmlns:p14="http://schemas.microsoft.com/office/powerpoint/2010/main" val="931675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9425" y="250825"/>
            <a:ext cx="3200400" cy="18002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FF9B0DE-3FEB-4AA0-B465-B80EF7C1333D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3B23E096-2E93-4973-8040-82840F068DF2}"/>
              </a:ext>
            </a:extLst>
          </p:cNvPr>
          <p:cNvSpPr>
            <a:spLocks noGrp="1"/>
          </p:cNvSpPr>
          <p:nvPr>
            <p:ph type="dt" sz="half" idx="1"/>
          </p:nvPr>
        </p:nvSpPr>
        <p:spPr/>
        <p:txBody>
          <a:bodyPr/>
          <a:lstStyle/>
          <a:p>
            <a:fld id="{DE66D679-688A-424D-ADB0-B46F82F91CE6}" type="datetime1">
              <a:rPr lang="de-DE" smtClean="0"/>
              <a:t>29.06.22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316DD00-37FF-4EE9-89AB-6B06597640E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 dirty="0"/>
              <a:t>Titel der Präsentation</a:t>
            </a:r>
          </a:p>
        </p:txBody>
      </p:sp>
    </p:spTree>
    <p:extLst>
      <p:ext uri="{BB962C8B-B14F-4D97-AF65-F5344CB8AC3E}">
        <p14:creationId xmlns:p14="http://schemas.microsoft.com/office/powerpoint/2010/main" val="18407693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9425" y="250825"/>
            <a:ext cx="3200400" cy="18002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FF9B0DE-3FEB-4AA0-B465-B80EF7C1333D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3B23E096-2E93-4973-8040-82840F068DF2}"/>
              </a:ext>
            </a:extLst>
          </p:cNvPr>
          <p:cNvSpPr>
            <a:spLocks noGrp="1"/>
          </p:cNvSpPr>
          <p:nvPr>
            <p:ph type="dt" sz="half" idx="1"/>
          </p:nvPr>
        </p:nvSpPr>
        <p:spPr/>
        <p:txBody>
          <a:bodyPr/>
          <a:lstStyle/>
          <a:p>
            <a:fld id="{DE66D679-688A-424D-ADB0-B46F82F91CE6}" type="datetime1">
              <a:rPr lang="de-DE" smtClean="0"/>
              <a:t>29.06.22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316DD00-37FF-4EE9-89AB-6B06597640E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 dirty="0"/>
              <a:t>Titel der Präsentation</a:t>
            </a:r>
          </a:p>
        </p:txBody>
      </p:sp>
    </p:spTree>
    <p:extLst>
      <p:ext uri="{BB962C8B-B14F-4D97-AF65-F5344CB8AC3E}">
        <p14:creationId xmlns:p14="http://schemas.microsoft.com/office/powerpoint/2010/main" val="169817229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9425" y="250825"/>
            <a:ext cx="3200400" cy="18002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FF9B0DE-3FEB-4AA0-B465-B80EF7C1333D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3B23E096-2E93-4973-8040-82840F068DF2}"/>
              </a:ext>
            </a:extLst>
          </p:cNvPr>
          <p:cNvSpPr>
            <a:spLocks noGrp="1"/>
          </p:cNvSpPr>
          <p:nvPr>
            <p:ph type="dt" sz="half" idx="1"/>
          </p:nvPr>
        </p:nvSpPr>
        <p:spPr/>
        <p:txBody>
          <a:bodyPr/>
          <a:lstStyle/>
          <a:p>
            <a:fld id="{DE66D679-688A-424D-ADB0-B46F82F91CE6}" type="datetime1">
              <a:rPr lang="de-DE" smtClean="0"/>
              <a:t>29.06.22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316DD00-37FF-4EE9-89AB-6B06597640E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 dirty="0"/>
              <a:t>Titel der Präsentation</a:t>
            </a:r>
          </a:p>
        </p:txBody>
      </p:sp>
    </p:spTree>
    <p:extLst>
      <p:ext uri="{BB962C8B-B14F-4D97-AF65-F5344CB8AC3E}">
        <p14:creationId xmlns:p14="http://schemas.microsoft.com/office/powerpoint/2010/main" val="412835990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9425" y="250825"/>
            <a:ext cx="3200400" cy="18002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FF9B0DE-3FEB-4AA0-B465-B80EF7C1333D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3B23E096-2E93-4973-8040-82840F068DF2}"/>
              </a:ext>
            </a:extLst>
          </p:cNvPr>
          <p:cNvSpPr>
            <a:spLocks noGrp="1"/>
          </p:cNvSpPr>
          <p:nvPr>
            <p:ph type="dt" sz="half" idx="1"/>
          </p:nvPr>
        </p:nvSpPr>
        <p:spPr/>
        <p:txBody>
          <a:bodyPr/>
          <a:lstStyle/>
          <a:p>
            <a:fld id="{DE66D679-688A-424D-ADB0-B46F82F91CE6}" type="datetime1">
              <a:rPr lang="de-DE" smtClean="0"/>
              <a:t>01.07.22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316DD00-37FF-4EE9-89AB-6B06597640E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 dirty="0"/>
              <a:t>Titel der Präsentation</a:t>
            </a:r>
          </a:p>
        </p:txBody>
      </p:sp>
    </p:spTree>
    <p:extLst>
      <p:ext uri="{BB962C8B-B14F-4D97-AF65-F5344CB8AC3E}">
        <p14:creationId xmlns:p14="http://schemas.microsoft.com/office/powerpoint/2010/main" val="196140186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9425" y="250825"/>
            <a:ext cx="3200400" cy="18002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FF9B0DE-3FEB-4AA0-B465-B80EF7C1333D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3B23E096-2E93-4973-8040-82840F068DF2}"/>
              </a:ext>
            </a:extLst>
          </p:cNvPr>
          <p:cNvSpPr>
            <a:spLocks noGrp="1"/>
          </p:cNvSpPr>
          <p:nvPr>
            <p:ph type="dt" sz="half" idx="1"/>
          </p:nvPr>
        </p:nvSpPr>
        <p:spPr/>
        <p:txBody>
          <a:bodyPr/>
          <a:lstStyle/>
          <a:p>
            <a:fld id="{DE66D679-688A-424D-ADB0-B46F82F91CE6}" type="datetime1">
              <a:rPr lang="de-DE" smtClean="0"/>
              <a:t>01.07.22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316DD00-37FF-4EE9-89AB-6B06597640E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 dirty="0"/>
              <a:t>Titel der Präsentation</a:t>
            </a:r>
          </a:p>
        </p:txBody>
      </p:sp>
    </p:spTree>
    <p:extLst>
      <p:ext uri="{BB962C8B-B14F-4D97-AF65-F5344CB8AC3E}">
        <p14:creationId xmlns:p14="http://schemas.microsoft.com/office/powerpoint/2010/main" val="383997894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9425" y="250825"/>
            <a:ext cx="3200400" cy="18002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FF9B0DE-3FEB-4AA0-B465-B80EF7C1333D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3B23E096-2E93-4973-8040-82840F068DF2}"/>
              </a:ext>
            </a:extLst>
          </p:cNvPr>
          <p:cNvSpPr>
            <a:spLocks noGrp="1"/>
          </p:cNvSpPr>
          <p:nvPr>
            <p:ph type="dt" sz="half" idx="1"/>
          </p:nvPr>
        </p:nvSpPr>
        <p:spPr/>
        <p:txBody>
          <a:bodyPr/>
          <a:lstStyle/>
          <a:p>
            <a:fld id="{DE66D679-688A-424D-ADB0-B46F82F91CE6}" type="datetime1">
              <a:rPr lang="de-DE" smtClean="0"/>
              <a:t>29.06.22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316DD00-37FF-4EE9-89AB-6B06597640E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 dirty="0"/>
              <a:t>Titel der Präsentation</a:t>
            </a:r>
          </a:p>
        </p:txBody>
      </p:sp>
    </p:spTree>
    <p:extLst>
      <p:ext uri="{BB962C8B-B14F-4D97-AF65-F5344CB8AC3E}">
        <p14:creationId xmlns:p14="http://schemas.microsoft.com/office/powerpoint/2010/main" val="19573626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ihandform: Form 8">
            <a:extLst>
              <a:ext uri="{FF2B5EF4-FFF2-40B4-BE49-F238E27FC236}">
                <a16:creationId xmlns:a16="http://schemas.microsoft.com/office/drawing/2014/main" id="{EF8AE78C-1B0B-4D12-B30A-80A604848CD8}"/>
              </a:ext>
            </a:extLst>
          </p:cNvPr>
          <p:cNvSpPr/>
          <p:nvPr userDrawn="1"/>
        </p:nvSpPr>
        <p:spPr bwMode="gray">
          <a:xfrm>
            <a:off x="0" y="0"/>
            <a:ext cx="12191999" cy="6858000"/>
          </a:xfrm>
          <a:custGeom>
            <a:avLst/>
            <a:gdLst>
              <a:gd name="connsiteX0" fmla="*/ 108001 w 12084000"/>
              <a:gd name="connsiteY0" fmla="*/ 0 h 6642000"/>
              <a:gd name="connsiteX1" fmla="*/ 12084000 w 12084000"/>
              <a:gd name="connsiteY1" fmla="*/ 0 h 6642000"/>
              <a:gd name="connsiteX2" fmla="*/ 12084000 w 12084000"/>
              <a:gd name="connsiteY2" fmla="*/ 6642000 h 6642000"/>
              <a:gd name="connsiteX3" fmla="*/ 108001 w 12084000"/>
              <a:gd name="connsiteY3" fmla="*/ 6642000 h 6642000"/>
              <a:gd name="connsiteX4" fmla="*/ 0 w 12084000"/>
              <a:gd name="connsiteY4" fmla="*/ 0 h 6642000"/>
              <a:gd name="connsiteX5" fmla="*/ 1 w 12084000"/>
              <a:gd name="connsiteY5" fmla="*/ 0 h 6642000"/>
              <a:gd name="connsiteX6" fmla="*/ 1 w 12084000"/>
              <a:gd name="connsiteY6" fmla="*/ 6642000 h 6642000"/>
              <a:gd name="connsiteX7" fmla="*/ 0 w 12084000"/>
              <a:gd name="connsiteY7" fmla="*/ 6642000 h 6642000"/>
              <a:gd name="connsiteX0" fmla="*/ 108001 w 12084000"/>
              <a:gd name="connsiteY0" fmla="*/ 0 h 6642000"/>
              <a:gd name="connsiteX1" fmla="*/ 12084000 w 12084000"/>
              <a:gd name="connsiteY1" fmla="*/ 0 h 6642000"/>
              <a:gd name="connsiteX2" fmla="*/ 12084000 w 12084000"/>
              <a:gd name="connsiteY2" fmla="*/ 6642000 h 6642000"/>
              <a:gd name="connsiteX3" fmla="*/ 108001 w 12084000"/>
              <a:gd name="connsiteY3" fmla="*/ 6642000 h 6642000"/>
              <a:gd name="connsiteX4" fmla="*/ 108001 w 12084000"/>
              <a:gd name="connsiteY4" fmla="*/ 0 h 6642000"/>
              <a:gd name="connsiteX5" fmla="*/ 0 w 12084000"/>
              <a:gd name="connsiteY5" fmla="*/ 6642000 h 6642000"/>
              <a:gd name="connsiteX6" fmla="*/ 1 w 12084000"/>
              <a:gd name="connsiteY6" fmla="*/ 0 h 6642000"/>
              <a:gd name="connsiteX7" fmla="*/ 1 w 12084000"/>
              <a:gd name="connsiteY7" fmla="*/ 6642000 h 6642000"/>
              <a:gd name="connsiteX8" fmla="*/ 0 w 12084000"/>
              <a:gd name="connsiteY8" fmla="*/ 6642000 h 6642000"/>
              <a:gd name="connsiteX0" fmla="*/ 108001 w 12084000"/>
              <a:gd name="connsiteY0" fmla="*/ 0 h 6642000"/>
              <a:gd name="connsiteX1" fmla="*/ 12084000 w 12084000"/>
              <a:gd name="connsiteY1" fmla="*/ 0 h 6642000"/>
              <a:gd name="connsiteX2" fmla="*/ 12084000 w 12084000"/>
              <a:gd name="connsiteY2" fmla="*/ 6642000 h 6642000"/>
              <a:gd name="connsiteX3" fmla="*/ 108001 w 12084000"/>
              <a:gd name="connsiteY3" fmla="*/ 6642000 h 6642000"/>
              <a:gd name="connsiteX4" fmla="*/ 108001 w 12084000"/>
              <a:gd name="connsiteY4" fmla="*/ 0 h 6642000"/>
              <a:gd name="connsiteX5" fmla="*/ 0 w 12084000"/>
              <a:gd name="connsiteY5" fmla="*/ 6642000 h 6642000"/>
              <a:gd name="connsiteX6" fmla="*/ 1 w 12084000"/>
              <a:gd name="connsiteY6" fmla="*/ 6642000 h 6642000"/>
              <a:gd name="connsiteX7" fmla="*/ 0 w 12084000"/>
              <a:gd name="connsiteY7" fmla="*/ 6642000 h 6642000"/>
              <a:gd name="connsiteX0" fmla="*/ 0 w 11975999"/>
              <a:gd name="connsiteY0" fmla="*/ 0 h 6642000"/>
              <a:gd name="connsiteX1" fmla="*/ 11975999 w 11975999"/>
              <a:gd name="connsiteY1" fmla="*/ 0 h 6642000"/>
              <a:gd name="connsiteX2" fmla="*/ 11975999 w 11975999"/>
              <a:gd name="connsiteY2" fmla="*/ 6642000 h 6642000"/>
              <a:gd name="connsiteX3" fmla="*/ 0 w 11975999"/>
              <a:gd name="connsiteY3" fmla="*/ 6642000 h 6642000"/>
              <a:gd name="connsiteX4" fmla="*/ 0 w 11975999"/>
              <a:gd name="connsiteY4" fmla="*/ 0 h 664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75999" h="6642000">
                <a:moveTo>
                  <a:pt x="0" y="0"/>
                </a:moveTo>
                <a:lnTo>
                  <a:pt x="11975999" y="0"/>
                </a:lnTo>
                <a:lnTo>
                  <a:pt x="11975999" y="6642000"/>
                </a:lnTo>
                <a:lnTo>
                  <a:pt x="0" y="6642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46" name="Freihandform: Form 45">
            <a:extLst>
              <a:ext uri="{FF2B5EF4-FFF2-40B4-BE49-F238E27FC236}">
                <a16:creationId xmlns:a16="http://schemas.microsoft.com/office/drawing/2014/main" id="{1D7B5784-A01A-4C09-A4D8-90ED6E6F2A20}"/>
              </a:ext>
            </a:extLst>
          </p:cNvPr>
          <p:cNvSpPr/>
          <p:nvPr userDrawn="1"/>
        </p:nvSpPr>
        <p:spPr bwMode="gray">
          <a:xfrm>
            <a:off x="8832304" y="0"/>
            <a:ext cx="3359696" cy="6858000"/>
          </a:xfrm>
          <a:custGeom>
            <a:avLst/>
            <a:gdLst>
              <a:gd name="connsiteX0" fmla="*/ 0 w 3359696"/>
              <a:gd name="connsiteY0" fmla="*/ 0 h 6858000"/>
              <a:gd name="connsiteX1" fmla="*/ 3359696 w 3359696"/>
              <a:gd name="connsiteY1" fmla="*/ 0 h 6858000"/>
              <a:gd name="connsiteX2" fmla="*/ 3359696 w 3359696"/>
              <a:gd name="connsiteY2" fmla="*/ 6858000 h 6858000"/>
              <a:gd name="connsiteX3" fmla="*/ 0 w 3359696"/>
              <a:gd name="connsiteY3" fmla="*/ 6858000 h 6858000"/>
              <a:gd name="connsiteX4" fmla="*/ 0 w 3359696"/>
              <a:gd name="connsiteY4" fmla="*/ 6857746 h 6858000"/>
              <a:gd name="connsiteX5" fmla="*/ 1668684 w 3359696"/>
              <a:gd name="connsiteY5" fmla="*/ 3429000 h 6858000"/>
              <a:gd name="connsiteX6" fmla="*/ 0 w 3359696"/>
              <a:gd name="connsiteY6" fmla="*/ 25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359696" h="6858000">
                <a:moveTo>
                  <a:pt x="0" y="0"/>
                </a:moveTo>
                <a:lnTo>
                  <a:pt x="3359696" y="0"/>
                </a:lnTo>
                <a:lnTo>
                  <a:pt x="3359696" y="6858000"/>
                </a:lnTo>
                <a:lnTo>
                  <a:pt x="0" y="6858000"/>
                </a:lnTo>
                <a:lnTo>
                  <a:pt x="0" y="6857746"/>
                </a:lnTo>
                <a:lnTo>
                  <a:pt x="1668684" y="3429000"/>
                </a:lnTo>
                <a:lnTo>
                  <a:pt x="0" y="253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1947BCD3-995D-4E17-8CE3-881BECA11EA5}"/>
              </a:ext>
            </a:extLst>
          </p:cNvPr>
          <p:cNvSpPr/>
          <p:nvPr userDrawn="1"/>
        </p:nvSpPr>
        <p:spPr bwMode="gray">
          <a:xfrm>
            <a:off x="552004" y="0"/>
            <a:ext cx="1511548" cy="198884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552004" y="2493443"/>
            <a:ext cx="6624116" cy="1655478"/>
          </a:xfrm>
        </p:spPr>
        <p:txBody>
          <a:bodyPr anchor="b"/>
          <a:lstStyle>
            <a:lvl1pPr algn="l">
              <a:lnSpc>
                <a:spcPct val="90000"/>
              </a:lnSpc>
              <a:spcBef>
                <a:spcPts val="0"/>
              </a:spcBef>
              <a:defRPr sz="4000" b="1" i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/>
              <a:t>Titel der Präsentation</a:t>
            </a:r>
            <a:br>
              <a:rPr lang="de-DE"/>
            </a:br>
            <a:r>
              <a:rPr lang="de-DE"/>
              <a:t>(in 1-2 Zeilen)</a:t>
            </a:r>
          </a:p>
        </p:txBody>
      </p:sp>
      <p:sp>
        <p:nvSpPr>
          <p:cNvPr id="3" name="Untertitel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555576" y="4293096"/>
            <a:ext cx="6620108" cy="72008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/>
              <a:t>Bereichsbezeichnung</a:t>
            </a:r>
            <a:br>
              <a:rPr lang="de-DE"/>
            </a:br>
            <a:r>
              <a:rPr lang="de-DE"/>
              <a:t>Vorname, Name</a:t>
            </a:r>
          </a:p>
        </p:txBody>
      </p:sp>
      <p:sp>
        <p:nvSpPr>
          <p:cNvPr id="50" name="Textplatzhalter 9">
            <a:extLst>
              <a:ext uri="{FF2B5EF4-FFF2-40B4-BE49-F238E27FC236}">
                <a16:creationId xmlns:a16="http://schemas.microsoft.com/office/drawing/2014/main" id="{3656EE1D-B61E-47A5-9B5C-F55BD7EAF9B1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 bwMode="gray">
          <a:xfrm>
            <a:off x="552004" y="5157192"/>
            <a:ext cx="6624116" cy="360040"/>
          </a:xfrm>
        </p:spPr>
        <p:txBody>
          <a:bodyPr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Ort, xx. Monat 20xx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3F050070-5803-4CEF-A983-29DCAE2C978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1880" y="128946"/>
            <a:ext cx="1512000" cy="18598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61340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7" userDrawn="1">
          <p15:clr>
            <a:srgbClr val="F26B43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211E6238-6B3F-42F9-B0C2-E51B74CFD7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57256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5" imgH="416" progId="TCLayout.ActiveDocument.1">
                  <p:embed/>
                </p:oleObj>
              </mc:Choice>
              <mc:Fallback>
                <p:oleObj name="think-cell Folie" r:id="rId3" imgW="415" imgH="41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211E6238-6B3F-42F9-B0C2-E51B74CFD7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22D10AAE-E753-4D86-8315-2C9BB6BF66E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407988" y="1557338"/>
            <a:ext cx="11376025" cy="4464049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Nutzen Sie die Buttons „Listenebene erhöhen/verringern“ auf dem Register Start, um zwischen den eingerichteten Textebenen zu wechseln. Text durch Klicken bearbeiten.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6093296"/>
            <a:ext cx="11376000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Fußnote/Quellenangabe</a:t>
            </a:r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ED9C4342-429C-4718-91C2-3FD1BD4A9A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2" y="815122"/>
            <a:ext cx="11376000" cy="360008"/>
          </a:xfrm>
        </p:spPr>
        <p:txBody>
          <a:bodyPr tIns="0" bIns="0"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accent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accent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9pPr>
          </a:lstStyle>
          <a:p>
            <a:pPr lvl="0"/>
            <a:r>
              <a:rPr lang="de-DE"/>
              <a:t>Zusatz zum Folientitel</a:t>
            </a:r>
          </a:p>
          <a:p>
            <a:pPr lvl="1"/>
            <a:endParaRPr lang="de-DE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22BD0978-3058-434A-B5F2-CB9B57E3E56D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lnSpc>
                <a:spcPct val="95000"/>
              </a:lnSpc>
              <a:defRPr/>
            </a:lvl1pPr>
          </a:lstStyle>
          <a:p>
            <a:r>
              <a:rPr lang="en-GB"/>
              <a:t>Click to edit Master title style</a:t>
            </a:r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F9FBB937-6EE4-46FC-9838-8934C1B9EA8C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 dirty="0"/>
              <a:t>|  01.05.2021  |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D09F3FDD-ACB7-4E22-9391-AE42C136CD6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dirty="0"/>
              <a:t>Schwarz Folienbibliothek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8C5D5722-D00E-4323-A083-AA1E1AD6A45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r"/>
            <a:fld id="{8CFDFCC3-8B40-4EE5-B231-005F2F1C6A68}" type="slidenum">
              <a:rPr lang="de-DE" smtClean="0"/>
              <a:pPr algn="r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64901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22D10AAE-E753-4D86-8315-2C9BB6BF66E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407989" y="1557339"/>
            <a:ext cx="5472000" cy="446395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Nutzen Sie die Buttons „Listenebene erhöhen/verringern“ auf dem Register Start, um zwischen den eingerichteten Textebenen zu wechseln. Text durch Klicken bearbeiten.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6093296"/>
            <a:ext cx="11376000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Fußnote/Quellenangabe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AEF87B94-0E4E-4D4D-90D2-45EA54A6DECB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 bwMode="gray">
          <a:xfrm>
            <a:off x="6312632" y="1557339"/>
            <a:ext cx="5472000" cy="446395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Nutzen Sie die Buttons „Listenebene erhöhen/verringern“ auf dem Register Start, um zwischen den eingerichteten Textebenen zu wechseln. Text durch Klicken bearbeiten.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BB6C62A-E079-40D3-9900-AD05955568B0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GB"/>
              <a:t>Click to edit Master title style</a:t>
            </a:r>
            <a:endParaRPr lang="de-DE"/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096DB7C3-448B-4970-8D81-B174ACDAD67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2" y="815122"/>
            <a:ext cx="11376000" cy="360008"/>
          </a:xfrm>
        </p:spPr>
        <p:txBody>
          <a:bodyPr tIns="0" bIns="0"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accent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accent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9pPr>
          </a:lstStyle>
          <a:p>
            <a:pPr lvl="0"/>
            <a:r>
              <a:rPr lang="de-DE"/>
              <a:t>Zusatz zum Folientitel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8C8EEE5-C73E-4949-9558-925705DB92BF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de-DE" dirty="0"/>
              <a:t>|  01.05.2021  |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3730D0C-2B14-41EF-A85E-42D2CBE73CC1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dirty="0"/>
              <a:t>Schwarz Folienbibliothek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A37B9F1A-139F-48AE-A42A-3A38756867A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pPr algn="r"/>
            <a:fld id="{8CFDFCC3-8B40-4EE5-B231-005F2F1C6A68}" type="slidenum">
              <a:rPr lang="de-DE" smtClean="0"/>
              <a:pPr algn="r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556852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22D10AAE-E753-4D86-8315-2C9BB6BF66E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407989" y="1556792"/>
            <a:ext cx="3527424" cy="446407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Nutzen Sie die Buttons „Listenebene erhöhen/verringern“ auf dem Register Start, um zwischen den eingerichteten Textebenen zu wechseln. Text durch Klicken bearbeiten.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6093296"/>
            <a:ext cx="11376000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Fußnote/Quellenangabe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AEF87B94-0E4E-4D4D-90D2-45EA54A6DECB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 bwMode="gray">
          <a:xfrm>
            <a:off x="4367213" y="1557213"/>
            <a:ext cx="3456980" cy="446407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Nutzen Sie die Buttons „Listenebene erhöhen/verringern“ auf dem Register Start, um zwischen den eingerichteten Textebenen zu wechseln. Text durch Klicken bearbeiten.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EC89F919-1B13-4706-A895-5230C18E4967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 bwMode="gray">
          <a:xfrm>
            <a:off x="8256240" y="1557338"/>
            <a:ext cx="3528392" cy="446407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Nutzen Sie die Buttons „Listenebene erhöhen/verringern“ auf dem Register Start, um zwischen den eingerichteten Textebenen zu wechseln. Text durch Klicken bearbeiten.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9D22048-BEBC-426E-A278-D4D79DE0D712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GB"/>
              <a:t>Click to edit Master title style</a:t>
            </a:r>
            <a:endParaRPr lang="de-DE"/>
          </a:p>
        </p:txBody>
      </p:sp>
      <p:sp>
        <p:nvSpPr>
          <p:cNvPr id="15" name="Textplatzhalter 9">
            <a:extLst>
              <a:ext uri="{FF2B5EF4-FFF2-40B4-BE49-F238E27FC236}">
                <a16:creationId xmlns:a16="http://schemas.microsoft.com/office/drawing/2014/main" id="{F50C4900-737E-423F-9ADD-3A961D701C0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2" y="815122"/>
            <a:ext cx="11376000" cy="360008"/>
          </a:xfrm>
        </p:spPr>
        <p:txBody>
          <a:bodyPr tIns="0" bIns="0"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accent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accent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9pPr>
          </a:lstStyle>
          <a:p>
            <a:pPr lvl="0"/>
            <a:r>
              <a:rPr lang="de-DE"/>
              <a:t>Zusatz zum Folientitel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E77174B-6F72-4E3E-B2CB-EED5C06DC3BA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 dirty="0"/>
              <a:t>|  01.05.2021  |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A96C1FB-5430-441E-B46A-08C882B117F5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 dirty="0"/>
              <a:t>Schwarz Folienbibliothek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BAD2DB8-9E89-4151-A2C4-EF828A95A04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algn="r"/>
            <a:fld id="{8CFDFCC3-8B40-4EE5-B231-005F2F1C6A68}" type="slidenum">
              <a:rPr lang="de-DE" smtClean="0"/>
              <a:pPr algn="r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141241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grafische Bühne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04ECF5D8-597F-433C-8071-7F63B641BBB2}"/>
              </a:ext>
            </a:extLst>
          </p:cNvPr>
          <p:cNvSpPr/>
          <p:nvPr userDrawn="1"/>
        </p:nvSpPr>
        <p:spPr bwMode="gray">
          <a:xfrm>
            <a:off x="8256239" y="0"/>
            <a:ext cx="3935761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dirty="0"/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22D10AAE-E753-4D86-8315-2C9BB6BF66E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407989" y="1557338"/>
            <a:ext cx="7416204" cy="4464049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Nutzen Sie die Buttons „Listenebene erhöhen/verringern“ auf dem Register Start, um zwischen den eingerichteten Textebenen zu wechseln. Text durch Klicken bearbeiten.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9" y="6093296"/>
            <a:ext cx="7416824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Fußnote/Quellenangab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C25C4D34-0D4B-4A6A-A6C5-252B19CA1A30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368" y="332656"/>
            <a:ext cx="7416824" cy="455976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de-DE"/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CA3144BC-1106-472B-816B-6995089CAC9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2" y="815122"/>
            <a:ext cx="7416000" cy="360008"/>
          </a:xfrm>
        </p:spPr>
        <p:txBody>
          <a:bodyPr tIns="0" bIns="0"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accent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accent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9pPr>
          </a:lstStyle>
          <a:p>
            <a:pPr lvl="0"/>
            <a:r>
              <a:rPr lang="de-DE"/>
              <a:t>Zusatz zum Folientitel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28422055-E1F2-4E64-9A55-1F42C0F87BF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 dirty="0"/>
              <a:t>|  01.05.2021  |</a:t>
            </a:r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983928CB-D0FA-487F-83EF-33F2CB6F7B5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dirty="0"/>
              <a:t>Schwarz Folienbibliothek</a:t>
            </a:r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9B7D31C6-CCA0-481A-B51E-AAAD387EAAA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r"/>
            <a:fld id="{8CFDFCC3-8B40-4EE5-B231-005F2F1C6A68}" type="slidenum">
              <a:rPr lang="de-DE" smtClean="0"/>
              <a:pPr algn="r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296447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grafische Bühne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15C34BC-9550-479A-8EB8-445796C514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221362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5" imgH="416" progId="TCLayout.ActiveDocument.1">
                  <p:embed/>
                </p:oleObj>
              </mc:Choice>
              <mc:Fallback>
                <p:oleObj name="think-cell Folie" r:id="rId3" imgW="415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15C34BC-9550-479A-8EB8-445796C514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>
            <a:extLst>
              <a:ext uri="{FF2B5EF4-FFF2-40B4-BE49-F238E27FC236}">
                <a16:creationId xmlns:a16="http://schemas.microsoft.com/office/drawing/2014/main" id="{04ECF5D8-597F-433C-8071-7F63B641BBB2}"/>
              </a:ext>
            </a:extLst>
          </p:cNvPr>
          <p:cNvSpPr/>
          <p:nvPr userDrawn="1"/>
        </p:nvSpPr>
        <p:spPr bwMode="gray">
          <a:xfrm>
            <a:off x="6311900" y="0"/>
            <a:ext cx="5880099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dirty="0"/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22D10AAE-E753-4D86-8315-2C9BB6BF66E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407989" y="1557338"/>
            <a:ext cx="5471987" cy="4464049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Nutzen Sie die Buttons „Listenebene erhöhen/verringern“ auf dem Register Start, um zwischen den eingerichteten Textebenen zu wechseln. Text durch Klicken bearbeiten.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9" y="6093296"/>
            <a:ext cx="5472607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Fußnote/Quellenangabe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67CD3000-F673-4FB4-9DDE-8F74EE19346C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988" y="332656"/>
            <a:ext cx="5471988" cy="455976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de-DE"/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F1CF5AEF-D7C5-4A0F-B1F1-B3E1C576064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2" y="815122"/>
            <a:ext cx="5471344" cy="360008"/>
          </a:xfrm>
        </p:spPr>
        <p:txBody>
          <a:bodyPr tIns="0" bIns="0"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accent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accent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9pPr>
          </a:lstStyle>
          <a:p>
            <a:pPr lvl="0"/>
            <a:r>
              <a:rPr lang="de-DE"/>
              <a:t>Zusatz zum Folientitel</a:t>
            </a:r>
          </a:p>
          <a:p>
            <a:pPr lvl="1"/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2816643A-8F5C-436B-89FB-0565B4DE210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 dirty="0"/>
              <a:t>|  01.05.2021  |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3DC7872-B1DC-4867-883F-8371C897075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dirty="0"/>
              <a:t>Schwarz Folienbibliothek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80664465-3125-4705-B5E0-5C7CDA64AB4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r"/>
            <a:fld id="{8CFDFCC3-8B40-4EE5-B231-005F2F1C6A68}" type="slidenum">
              <a:rPr lang="de-DE" smtClean="0"/>
              <a:pPr algn="r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699768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39889991-D7C3-47DC-A0E7-496256CBD9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7635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5" imgH="416" progId="TCLayout.ActiveDocument.1">
                  <p:embed/>
                </p:oleObj>
              </mc:Choice>
              <mc:Fallback>
                <p:oleObj name="think-cell Folie" r:id="rId3" imgW="415" imgH="41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39889991-D7C3-47DC-A0E7-496256CBD9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platzhalter 7">
            <a:extLst>
              <a:ext uri="{FF2B5EF4-FFF2-40B4-BE49-F238E27FC236}">
                <a16:creationId xmlns:a16="http://schemas.microsoft.com/office/drawing/2014/main" id="{773FAEC6-8B23-4327-9DFE-B48C2DF8AAD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6093296"/>
            <a:ext cx="11376000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Fußnote/Quellenangabe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9C26CE14-4DBD-4CA6-859D-9AEFC308E827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GB"/>
              <a:t>Click to edit Master title style</a:t>
            </a:r>
            <a:endParaRPr lang="de-DE"/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5F07166E-D4A4-48C3-9A15-5CC337FDB68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2" y="815122"/>
            <a:ext cx="11376000" cy="360008"/>
          </a:xfrm>
        </p:spPr>
        <p:txBody>
          <a:bodyPr tIns="0" bIns="0"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accent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accent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9pPr>
          </a:lstStyle>
          <a:p>
            <a:pPr lvl="0"/>
            <a:r>
              <a:rPr lang="de-DE"/>
              <a:t>Zusatz zum Folientitel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BB1F0AD-06F8-46F2-9AC1-E29E2DA25F49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 dirty="0"/>
              <a:t>|  01.05.2021  |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0E29E2E-F89D-4241-8132-D1F3413BED3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dirty="0"/>
              <a:t>Schwarz Folienbibliothek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58C7911D-5963-40C0-B3F0-D81006ACFDE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r"/>
            <a:fld id="{8CFDFCC3-8B40-4EE5-B231-005F2F1C6A68}" type="slidenum">
              <a:rPr lang="de-DE" smtClean="0"/>
              <a:pPr algn="r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389905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862EF2F3-AE5D-4BD1-B244-0252E5F5621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0"/>
            <a:ext cx="12191999" cy="6858000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246962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ein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22D10AAE-E753-4D86-8315-2C9BB6BF66E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407989" y="1557339"/>
            <a:ext cx="5471987" cy="446395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Nutzen Sie die Buttons „Listenebene erhöhen/verringern“ auf dem Register Start, um zwischen den eingerichteten Textebenen zu wechseln. Text durch Klicken bearbeiten.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6093296"/>
            <a:ext cx="5472608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Fußnote/Quellenangabe</a:t>
            </a:r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2490BACD-2229-4AF3-A1D0-9FB8C6A21F14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6312024" y="0"/>
            <a:ext cx="5879976" cy="6858000"/>
          </a:xfrm>
          <a:custGeom>
            <a:avLst/>
            <a:gdLst>
              <a:gd name="connsiteX0" fmla="*/ 1 w 5879976"/>
              <a:gd name="connsiteY0" fmla="*/ 0 h 6858000"/>
              <a:gd name="connsiteX1" fmla="*/ 5879976 w 5879976"/>
              <a:gd name="connsiteY1" fmla="*/ 0 h 6858000"/>
              <a:gd name="connsiteX2" fmla="*/ 5879976 w 5879976"/>
              <a:gd name="connsiteY2" fmla="*/ 6858000 h 6858000"/>
              <a:gd name="connsiteX3" fmla="*/ 0 w 5879976"/>
              <a:gd name="connsiteY3" fmla="*/ 6858000 h 6858000"/>
              <a:gd name="connsiteX4" fmla="*/ 1593280 w 5879976"/>
              <a:gd name="connsiteY4" fmla="*/ 3428999 h 6858000"/>
              <a:gd name="connsiteX0" fmla="*/ 1 w 5879976"/>
              <a:gd name="connsiteY0" fmla="*/ 0 h 6858000"/>
              <a:gd name="connsiteX1" fmla="*/ 5879976 w 5879976"/>
              <a:gd name="connsiteY1" fmla="*/ 0 h 6858000"/>
              <a:gd name="connsiteX2" fmla="*/ 5879976 w 5879976"/>
              <a:gd name="connsiteY2" fmla="*/ 6858000 h 6858000"/>
              <a:gd name="connsiteX3" fmla="*/ 0 w 5879976"/>
              <a:gd name="connsiteY3" fmla="*/ 6858000 h 6858000"/>
              <a:gd name="connsiteX4" fmla="*/ 1682180 w 5879976"/>
              <a:gd name="connsiteY4" fmla="*/ 3428999 h 6858000"/>
              <a:gd name="connsiteX5" fmla="*/ 1 w 5879976"/>
              <a:gd name="connsiteY5" fmla="*/ 0 h 6858000"/>
              <a:gd name="connsiteX0" fmla="*/ 1 w 5879976"/>
              <a:gd name="connsiteY0" fmla="*/ 0 h 6858000"/>
              <a:gd name="connsiteX1" fmla="*/ 5879976 w 5879976"/>
              <a:gd name="connsiteY1" fmla="*/ 0 h 6858000"/>
              <a:gd name="connsiteX2" fmla="*/ 5879976 w 5879976"/>
              <a:gd name="connsiteY2" fmla="*/ 6858000 h 6858000"/>
              <a:gd name="connsiteX3" fmla="*/ 0 w 5879976"/>
              <a:gd name="connsiteY3" fmla="*/ 6858000 h 6858000"/>
              <a:gd name="connsiteX4" fmla="*/ 1672655 w 5879976"/>
              <a:gd name="connsiteY4" fmla="*/ 3435349 h 6858000"/>
              <a:gd name="connsiteX5" fmla="*/ 1 w 5879976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879976" h="6858000">
                <a:moveTo>
                  <a:pt x="1" y="0"/>
                </a:moveTo>
                <a:lnTo>
                  <a:pt x="5879976" y="0"/>
                </a:lnTo>
                <a:lnTo>
                  <a:pt x="5879976" y="6858000"/>
                </a:lnTo>
                <a:lnTo>
                  <a:pt x="0" y="6858000"/>
                </a:lnTo>
                <a:lnTo>
                  <a:pt x="1672655" y="3435349"/>
                </a:lnTo>
                <a:cubicBezTo>
                  <a:pt x="1141562" y="2292349"/>
                  <a:pt x="531094" y="1143000"/>
                  <a:pt x="1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0" bIns="864000" anchor="ctr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A8BE99A-D79E-410F-82B8-086DDD8C679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368" y="332656"/>
            <a:ext cx="5472608" cy="455976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de-DE"/>
          </a:p>
        </p:txBody>
      </p:sp>
      <p:sp>
        <p:nvSpPr>
          <p:cNvPr id="15" name="Textplatzhalter 9">
            <a:extLst>
              <a:ext uri="{FF2B5EF4-FFF2-40B4-BE49-F238E27FC236}">
                <a16:creationId xmlns:a16="http://schemas.microsoft.com/office/drawing/2014/main" id="{D39B8FDB-812C-4286-8375-92CE868D5CE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2" y="815122"/>
            <a:ext cx="5471344" cy="360008"/>
          </a:xfrm>
        </p:spPr>
        <p:txBody>
          <a:bodyPr tIns="0" bIns="0"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accent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accent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9pPr>
          </a:lstStyle>
          <a:p>
            <a:pPr lvl="0"/>
            <a:r>
              <a:rPr lang="de-DE"/>
              <a:t>Zusatz zum Folientitel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F99FD07-3567-46C0-868E-F5F5F0C8CDE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 dirty="0"/>
              <a:t>|  01.05.2021  |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B3C5600-7754-4C08-9449-8148102E467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dirty="0"/>
              <a:t>Schwarz Folienbibliothek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8B95E25-568F-4B3A-8BB1-8F0ED3DE4C6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r"/>
            <a:fld id="{8CFDFCC3-8B40-4EE5-B231-005F2F1C6A68}" type="slidenum">
              <a:rPr lang="de-DE" smtClean="0"/>
              <a:pPr algn="r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736997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22D10AAE-E753-4D86-8315-2C9BB6BF66E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407989" y="1557339"/>
            <a:ext cx="5471987" cy="446395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Nutzen Sie die Buttons „Listenebene erhöhen/verringern“ auf dem Register Start, um zwischen den eingerichteten Textebenen zu wechseln. Text durch Klicken bearbeiten.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6093296"/>
            <a:ext cx="5472000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Fußnote/Quellenangab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E8CB5280-FF36-45FF-A7EA-8A788876514B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6312025" y="115887"/>
            <a:ext cx="5760914" cy="3313113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72EA302A-73E1-4E4F-B4BD-5AB867F331AD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6312025" y="3573016"/>
            <a:ext cx="5760913" cy="3169097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AAD05F2-EDC0-4B09-8BC9-593B046E6A0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368" y="332656"/>
            <a:ext cx="5472608" cy="455976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de-DE"/>
          </a:p>
        </p:txBody>
      </p:sp>
      <p:sp>
        <p:nvSpPr>
          <p:cNvPr id="16" name="Textplatzhalter 9">
            <a:extLst>
              <a:ext uri="{FF2B5EF4-FFF2-40B4-BE49-F238E27FC236}">
                <a16:creationId xmlns:a16="http://schemas.microsoft.com/office/drawing/2014/main" id="{F4252F69-3942-4D54-8486-E8FD34D26B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2" y="815122"/>
            <a:ext cx="5471344" cy="360008"/>
          </a:xfrm>
        </p:spPr>
        <p:txBody>
          <a:bodyPr tIns="0" bIns="0"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accent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accent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9pPr>
          </a:lstStyle>
          <a:p>
            <a:pPr lvl="0"/>
            <a:r>
              <a:rPr lang="de-DE"/>
              <a:t>Zusatz zum Folientitel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56F1C1A7-A3D9-477E-B18C-57E88B4DA7BC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de-DE" dirty="0"/>
              <a:t>|  01.05.2021  |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4C582C78-E44C-4393-A8F4-2578ED15306C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dirty="0"/>
              <a:t>Schwarz Folienbibliothek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8545922B-410F-4689-A48A-48FC51A5026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pPr algn="r"/>
            <a:fld id="{8CFDFCC3-8B40-4EE5-B231-005F2F1C6A68}" type="slidenum">
              <a:rPr lang="de-DE" smtClean="0"/>
              <a:pPr algn="r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169827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22D10AAE-E753-4D86-8315-2C9BB6BF66E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407989" y="1557339"/>
            <a:ext cx="5472000" cy="446395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Nutzen Sie die Buttons „Listenebene erhöhen/verringern“ auf dem Register Start, um zwischen den eingerichteten Textebenen zu wechseln. Text durch Klicken bearbeiten.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6093296"/>
            <a:ext cx="5472000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Fußnote/Quellenangab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E8CB5280-FF36-45FF-A7EA-8A788876514B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6312025" y="115887"/>
            <a:ext cx="2952328" cy="3313113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72EA302A-73E1-4E4F-B4BD-5AB867F331AD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6312025" y="3573016"/>
            <a:ext cx="5760913" cy="3169097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9FB83DFD-5A5B-4FEC-89F4-CBBAD40D217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9409113" y="115888"/>
            <a:ext cx="2663825" cy="3313112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3C0CB03-62FB-487C-A92A-E57DE4A583B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368" y="332656"/>
            <a:ext cx="5472608" cy="455976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de-DE"/>
          </a:p>
        </p:txBody>
      </p:sp>
      <p:sp>
        <p:nvSpPr>
          <p:cNvPr id="17" name="Textplatzhalter 9">
            <a:extLst>
              <a:ext uri="{FF2B5EF4-FFF2-40B4-BE49-F238E27FC236}">
                <a16:creationId xmlns:a16="http://schemas.microsoft.com/office/drawing/2014/main" id="{E03E884F-CF0A-4875-A30B-357B7D9C19F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2" y="815122"/>
            <a:ext cx="5471344" cy="360008"/>
          </a:xfrm>
        </p:spPr>
        <p:txBody>
          <a:bodyPr tIns="0" bIns="0"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accent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accent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9pPr>
          </a:lstStyle>
          <a:p>
            <a:pPr lvl="0"/>
            <a:r>
              <a:rPr lang="de-DE"/>
              <a:t>Zusatz zum Folientitel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17D31FB2-31DF-419A-B820-49E1558BC445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r>
              <a:rPr lang="de-DE" dirty="0"/>
              <a:t>|  01.05.2021  |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922E8121-2F88-4430-901A-7B8EE8383E8D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de-DE" dirty="0"/>
              <a:t>Schwarz Folienbibliothek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25A90FA8-ED3C-4FDC-8C37-C92DD2B9886B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 algn="r"/>
            <a:fld id="{8CFDFCC3-8B40-4EE5-B231-005F2F1C6A68}" type="slidenum">
              <a:rPr lang="de-DE" smtClean="0"/>
              <a:pPr algn="r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334687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ihandform: Form 7">
            <a:extLst>
              <a:ext uri="{FF2B5EF4-FFF2-40B4-BE49-F238E27FC236}">
                <a16:creationId xmlns:a16="http://schemas.microsoft.com/office/drawing/2014/main" id="{F622F203-578A-4D97-96FF-943751D2F25D}"/>
              </a:ext>
            </a:extLst>
          </p:cNvPr>
          <p:cNvSpPr/>
          <p:nvPr userDrawn="1"/>
        </p:nvSpPr>
        <p:spPr bwMode="gray">
          <a:xfrm>
            <a:off x="0" y="0"/>
            <a:ext cx="12191999" cy="6858000"/>
          </a:xfrm>
          <a:custGeom>
            <a:avLst/>
            <a:gdLst>
              <a:gd name="connsiteX0" fmla="*/ 108001 w 12084000"/>
              <a:gd name="connsiteY0" fmla="*/ 0 h 6642000"/>
              <a:gd name="connsiteX1" fmla="*/ 12084000 w 12084000"/>
              <a:gd name="connsiteY1" fmla="*/ 0 h 6642000"/>
              <a:gd name="connsiteX2" fmla="*/ 12084000 w 12084000"/>
              <a:gd name="connsiteY2" fmla="*/ 6642000 h 6642000"/>
              <a:gd name="connsiteX3" fmla="*/ 108001 w 12084000"/>
              <a:gd name="connsiteY3" fmla="*/ 6642000 h 6642000"/>
              <a:gd name="connsiteX4" fmla="*/ 0 w 12084000"/>
              <a:gd name="connsiteY4" fmla="*/ 0 h 6642000"/>
              <a:gd name="connsiteX5" fmla="*/ 1 w 12084000"/>
              <a:gd name="connsiteY5" fmla="*/ 0 h 6642000"/>
              <a:gd name="connsiteX6" fmla="*/ 1 w 12084000"/>
              <a:gd name="connsiteY6" fmla="*/ 6642000 h 6642000"/>
              <a:gd name="connsiteX7" fmla="*/ 0 w 12084000"/>
              <a:gd name="connsiteY7" fmla="*/ 6642000 h 6642000"/>
              <a:gd name="connsiteX0" fmla="*/ 108001 w 12084000"/>
              <a:gd name="connsiteY0" fmla="*/ 0 h 6642000"/>
              <a:gd name="connsiteX1" fmla="*/ 12084000 w 12084000"/>
              <a:gd name="connsiteY1" fmla="*/ 0 h 6642000"/>
              <a:gd name="connsiteX2" fmla="*/ 12084000 w 12084000"/>
              <a:gd name="connsiteY2" fmla="*/ 6642000 h 6642000"/>
              <a:gd name="connsiteX3" fmla="*/ 108001 w 12084000"/>
              <a:gd name="connsiteY3" fmla="*/ 6642000 h 6642000"/>
              <a:gd name="connsiteX4" fmla="*/ 108001 w 12084000"/>
              <a:gd name="connsiteY4" fmla="*/ 0 h 6642000"/>
              <a:gd name="connsiteX5" fmla="*/ 0 w 12084000"/>
              <a:gd name="connsiteY5" fmla="*/ 6642000 h 6642000"/>
              <a:gd name="connsiteX6" fmla="*/ 1 w 12084000"/>
              <a:gd name="connsiteY6" fmla="*/ 0 h 6642000"/>
              <a:gd name="connsiteX7" fmla="*/ 1 w 12084000"/>
              <a:gd name="connsiteY7" fmla="*/ 6642000 h 6642000"/>
              <a:gd name="connsiteX8" fmla="*/ 0 w 12084000"/>
              <a:gd name="connsiteY8" fmla="*/ 6642000 h 6642000"/>
              <a:gd name="connsiteX0" fmla="*/ 108001 w 12084000"/>
              <a:gd name="connsiteY0" fmla="*/ 0 h 6642000"/>
              <a:gd name="connsiteX1" fmla="*/ 12084000 w 12084000"/>
              <a:gd name="connsiteY1" fmla="*/ 0 h 6642000"/>
              <a:gd name="connsiteX2" fmla="*/ 12084000 w 12084000"/>
              <a:gd name="connsiteY2" fmla="*/ 6642000 h 6642000"/>
              <a:gd name="connsiteX3" fmla="*/ 108001 w 12084000"/>
              <a:gd name="connsiteY3" fmla="*/ 6642000 h 6642000"/>
              <a:gd name="connsiteX4" fmla="*/ 108001 w 12084000"/>
              <a:gd name="connsiteY4" fmla="*/ 0 h 6642000"/>
              <a:gd name="connsiteX5" fmla="*/ 0 w 12084000"/>
              <a:gd name="connsiteY5" fmla="*/ 6642000 h 6642000"/>
              <a:gd name="connsiteX6" fmla="*/ 1 w 12084000"/>
              <a:gd name="connsiteY6" fmla="*/ 6642000 h 6642000"/>
              <a:gd name="connsiteX7" fmla="*/ 0 w 12084000"/>
              <a:gd name="connsiteY7" fmla="*/ 6642000 h 6642000"/>
              <a:gd name="connsiteX0" fmla="*/ 0 w 11975999"/>
              <a:gd name="connsiteY0" fmla="*/ 0 h 6642000"/>
              <a:gd name="connsiteX1" fmla="*/ 11975999 w 11975999"/>
              <a:gd name="connsiteY1" fmla="*/ 0 h 6642000"/>
              <a:gd name="connsiteX2" fmla="*/ 11975999 w 11975999"/>
              <a:gd name="connsiteY2" fmla="*/ 6642000 h 6642000"/>
              <a:gd name="connsiteX3" fmla="*/ 0 w 11975999"/>
              <a:gd name="connsiteY3" fmla="*/ 6642000 h 6642000"/>
              <a:gd name="connsiteX4" fmla="*/ 0 w 11975999"/>
              <a:gd name="connsiteY4" fmla="*/ 0 h 664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75999" h="6642000">
                <a:moveTo>
                  <a:pt x="0" y="0"/>
                </a:moveTo>
                <a:lnTo>
                  <a:pt x="11975999" y="0"/>
                </a:lnTo>
                <a:lnTo>
                  <a:pt x="11975999" y="6642000"/>
                </a:lnTo>
                <a:lnTo>
                  <a:pt x="0" y="6642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551879" y="2205410"/>
            <a:ext cx="5759987" cy="1656000"/>
          </a:xfrm>
        </p:spPr>
        <p:txBody>
          <a:bodyPr anchor="b"/>
          <a:lstStyle>
            <a:lvl1pPr algn="l">
              <a:lnSpc>
                <a:spcPct val="90000"/>
              </a:lnSpc>
              <a:spcBef>
                <a:spcPts val="0"/>
              </a:spcBef>
              <a:defRPr sz="3600" b="1" i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/>
              <a:t>Titel der Präsentation</a:t>
            </a:r>
            <a:br>
              <a:rPr lang="de-DE"/>
            </a:br>
            <a:r>
              <a:rPr lang="de-DE"/>
              <a:t>(in 1-2 Zeilen)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51260" y="4005064"/>
            <a:ext cx="5760640" cy="72000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de-DE"/>
              <a:t>Bereichsbezeichnung</a:t>
            </a:r>
            <a:br>
              <a:rPr lang="de-DE"/>
            </a:br>
            <a:r>
              <a:rPr lang="de-DE"/>
              <a:t>Vorname, Name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52009" y="4869160"/>
            <a:ext cx="5759852" cy="360040"/>
          </a:xfrm>
        </p:spPr>
        <p:txBody>
          <a:bodyPr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/>
              <a:t>Ort, xx. Monat 20xx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53CAF7F5-1DBF-4866-AB1F-5D6E772D3233}"/>
              </a:ext>
            </a:extLst>
          </p:cNvPr>
          <p:cNvSpPr/>
          <p:nvPr userDrawn="1"/>
        </p:nvSpPr>
        <p:spPr bwMode="gray">
          <a:xfrm>
            <a:off x="551880" y="0"/>
            <a:ext cx="1511548" cy="198884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13" name="Bildplatzhalter 14">
            <a:extLst>
              <a:ext uri="{FF2B5EF4-FFF2-40B4-BE49-F238E27FC236}">
                <a16:creationId xmlns:a16="http://schemas.microsoft.com/office/drawing/2014/main" id="{A8B6AE25-2B78-441A-98E8-3EFC1CCA73E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880100" y="0"/>
            <a:ext cx="6311900" cy="6858000"/>
          </a:xfrm>
          <a:custGeom>
            <a:avLst/>
            <a:gdLst>
              <a:gd name="connsiteX0" fmla="*/ 0 w 6311900"/>
              <a:gd name="connsiteY0" fmla="*/ 0 h 6858000"/>
              <a:gd name="connsiteX1" fmla="*/ 6311900 w 6311900"/>
              <a:gd name="connsiteY1" fmla="*/ 0 h 6858000"/>
              <a:gd name="connsiteX2" fmla="*/ 6311900 w 6311900"/>
              <a:gd name="connsiteY2" fmla="*/ 6858000 h 6858000"/>
              <a:gd name="connsiteX3" fmla="*/ 0 w 6311900"/>
              <a:gd name="connsiteY3" fmla="*/ 6858000 h 6858000"/>
              <a:gd name="connsiteX4" fmla="*/ 0 w 6311900"/>
              <a:gd name="connsiteY4" fmla="*/ 6857746 h 6858000"/>
              <a:gd name="connsiteX5" fmla="*/ 1668684 w 6311900"/>
              <a:gd name="connsiteY5" fmla="*/ 3429000 h 6858000"/>
              <a:gd name="connsiteX6" fmla="*/ 0 w 6311900"/>
              <a:gd name="connsiteY6" fmla="*/ 25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311900" h="6858000">
                <a:moveTo>
                  <a:pt x="0" y="0"/>
                </a:moveTo>
                <a:lnTo>
                  <a:pt x="6311900" y="0"/>
                </a:lnTo>
                <a:lnTo>
                  <a:pt x="6311900" y="6858000"/>
                </a:lnTo>
                <a:lnTo>
                  <a:pt x="0" y="6858000"/>
                </a:lnTo>
                <a:lnTo>
                  <a:pt x="0" y="6857746"/>
                </a:lnTo>
                <a:lnTo>
                  <a:pt x="1668684" y="3429000"/>
                </a:lnTo>
                <a:lnTo>
                  <a:pt x="0" y="253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>
              <a:defRPr/>
            </a:lvl1pPr>
          </a:lstStyle>
          <a:p>
            <a:r>
              <a:rPr lang="en-US" dirty="0"/>
              <a:t> 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E7953295-3977-4D33-B500-9BF30DF59D4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1880" y="128946"/>
            <a:ext cx="1512000" cy="18598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52884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7" userDrawn="1">
          <p15:clr>
            <a:srgbClr val="F26B43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drei Bilder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720CC2A-69E5-4868-B716-9775A7ECA1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27993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5" imgH="416" progId="TCLayout.ActiveDocument.1">
                  <p:embed/>
                </p:oleObj>
              </mc:Choice>
              <mc:Fallback>
                <p:oleObj name="think-cell Folie" r:id="rId3" imgW="415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720CC2A-69E5-4868-B716-9775A7ECA1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22D10AAE-E753-4D86-8315-2C9BB6BF66E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407989" y="1557339"/>
            <a:ext cx="7417033" cy="1414800"/>
          </a:xfrm>
        </p:spPr>
        <p:txBody>
          <a:bodyPr/>
          <a:lstStyle>
            <a:lvl1pPr>
              <a:spcAft>
                <a:spcPts val="200"/>
              </a:spcAft>
              <a:defRPr>
                <a:solidFill>
                  <a:schemeClr val="accent1"/>
                </a:solidFill>
              </a:defRPr>
            </a:lvl1pPr>
            <a:lvl2pPr>
              <a:spcAft>
                <a:spcPts val="200"/>
              </a:spcAft>
              <a:defRPr>
                <a:solidFill>
                  <a:schemeClr val="tx1"/>
                </a:solidFill>
              </a:defRPr>
            </a:lvl2pPr>
            <a:lvl3pPr>
              <a:spcAft>
                <a:spcPts val="200"/>
              </a:spcAft>
              <a:defRPr>
                <a:solidFill>
                  <a:schemeClr val="tx1"/>
                </a:solidFill>
              </a:defRPr>
            </a:lvl3pPr>
            <a:lvl4pPr>
              <a:spcAft>
                <a:spcPts val="200"/>
              </a:spcAft>
              <a:defRPr>
                <a:solidFill>
                  <a:schemeClr val="tx1"/>
                </a:solidFill>
              </a:defRPr>
            </a:lvl4pPr>
            <a:lvl5pPr>
              <a:spcAft>
                <a:spcPts val="200"/>
              </a:spcAft>
              <a:defRPr>
                <a:solidFill>
                  <a:schemeClr val="tx1"/>
                </a:solidFill>
              </a:defRPr>
            </a:lvl5pPr>
            <a:lvl6pPr>
              <a:spcAft>
                <a:spcPts val="200"/>
              </a:spcAft>
              <a:defRPr>
                <a:solidFill>
                  <a:schemeClr val="tx1"/>
                </a:solidFill>
              </a:defRPr>
            </a:lvl6pPr>
            <a:lvl7pPr>
              <a:spcAft>
                <a:spcPts val="200"/>
              </a:spcAft>
              <a:defRPr>
                <a:solidFill>
                  <a:schemeClr val="tx1"/>
                </a:solidFill>
              </a:defRPr>
            </a:lvl7pPr>
            <a:lvl8pPr>
              <a:spcAft>
                <a:spcPts val="200"/>
              </a:spcAft>
              <a:defRPr>
                <a:solidFill>
                  <a:schemeClr val="tx1"/>
                </a:solidFill>
              </a:defRPr>
            </a:lvl8pPr>
            <a:lvl9pPr>
              <a:spcAft>
                <a:spcPts val="200"/>
              </a:spcAft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Nutzen Sie die Buttons „Listenebene erhöhen/verringern“ auf dem Register Start, um zwischen den eingerichteten Textebenen zu wechseln. Text durch Klicken bearbeiten.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7" y="6093296"/>
            <a:ext cx="7417421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Fußnote/Quellenangab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E8CB5280-FF36-45FF-A7EA-8A788876514B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8256588" y="1557338"/>
            <a:ext cx="3816350" cy="1414800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72EA302A-73E1-4E4F-B4BD-5AB867F331AD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8256588" y="3073669"/>
            <a:ext cx="3816350" cy="1414800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1DBD824E-7BD9-42EB-A741-717B9ED9C6AC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8256588" y="4590000"/>
            <a:ext cx="3816350" cy="1414800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0C8C35B0-D28C-470A-9370-CD75020BFE3D}"/>
              </a:ext>
            </a:extLst>
          </p:cNvPr>
          <p:cNvSpPr>
            <a:spLocks noGrp="1"/>
          </p:cNvSpPr>
          <p:nvPr>
            <p:ph sz="half" idx="23" hasCustomPrompt="1"/>
          </p:nvPr>
        </p:nvSpPr>
        <p:spPr bwMode="gray">
          <a:xfrm>
            <a:off x="407989" y="3081913"/>
            <a:ext cx="7417033" cy="1414800"/>
          </a:xfrm>
        </p:spPr>
        <p:txBody>
          <a:bodyPr/>
          <a:lstStyle>
            <a:lvl1pPr>
              <a:spcAft>
                <a:spcPts val="200"/>
              </a:spcAft>
              <a:defRPr>
                <a:solidFill>
                  <a:schemeClr val="accent1"/>
                </a:solidFill>
              </a:defRPr>
            </a:lvl1pPr>
            <a:lvl2pPr>
              <a:spcAft>
                <a:spcPts val="200"/>
              </a:spcAft>
              <a:defRPr>
                <a:solidFill>
                  <a:schemeClr val="tx1"/>
                </a:solidFill>
              </a:defRPr>
            </a:lvl2pPr>
            <a:lvl3pPr>
              <a:spcAft>
                <a:spcPts val="200"/>
              </a:spcAft>
              <a:defRPr>
                <a:solidFill>
                  <a:schemeClr val="tx1"/>
                </a:solidFill>
              </a:defRPr>
            </a:lvl3pPr>
            <a:lvl4pPr>
              <a:spcAft>
                <a:spcPts val="200"/>
              </a:spcAft>
              <a:defRPr>
                <a:solidFill>
                  <a:schemeClr val="tx1"/>
                </a:solidFill>
              </a:defRPr>
            </a:lvl4pPr>
            <a:lvl5pPr>
              <a:spcAft>
                <a:spcPts val="200"/>
              </a:spcAft>
              <a:defRPr>
                <a:solidFill>
                  <a:schemeClr val="tx1"/>
                </a:solidFill>
              </a:defRPr>
            </a:lvl5pPr>
            <a:lvl6pPr>
              <a:spcAft>
                <a:spcPts val="200"/>
              </a:spcAft>
              <a:defRPr>
                <a:solidFill>
                  <a:schemeClr val="tx1"/>
                </a:solidFill>
              </a:defRPr>
            </a:lvl6pPr>
            <a:lvl7pPr>
              <a:spcAft>
                <a:spcPts val="200"/>
              </a:spcAft>
              <a:defRPr>
                <a:solidFill>
                  <a:schemeClr val="tx1"/>
                </a:solidFill>
              </a:defRPr>
            </a:lvl7pPr>
            <a:lvl8pPr>
              <a:spcAft>
                <a:spcPts val="200"/>
              </a:spcAft>
              <a:defRPr>
                <a:solidFill>
                  <a:schemeClr val="tx1"/>
                </a:solidFill>
              </a:defRPr>
            </a:lvl8pPr>
            <a:lvl9pPr>
              <a:spcAft>
                <a:spcPts val="200"/>
              </a:spcAft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Nutzen Sie die Buttons „Listenebene erhöhen/verringern“ auf dem Register Start, um zwischen den eingerichteten Textebenen zu wechseln. Text durch Klicken bearbeiten.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19" name="Inhaltsplatzhalter 2">
            <a:extLst>
              <a:ext uri="{FF2B5EF4-FFF2-40B4-BE49-F238E27FC236}">
                <a16:creationId xmlns:a16="http://schemas.microsoft.com/office/drawing/2014/main" id="{34C99758-AEB9-4B74-A583-4F20E16B1F20}"/>
              </a:ext>
            </a:extLst>
          </p:cNvPr>
          <p:cNvSpPr>
            <a:spLocks noGrp="1"/>
          </p:cNvSpPr>
          <p:nvPr>
            <p:ph sz="half" idx="24" hasCustomPrompt="1"/>
          </p:nvPr>
        </p:nvSpPr>
        <p:spPr bwMode="gray">
          <a:xfrm>
            <a:off x="407989" y="4606488"/>
            <a:ext cx="7416799" cy="1414800"/>
          </a:xfrm>
        </p:spPr>
        <p:txBody>
          <a:bodyPr/>
          <a:lstStyle>
            <a:lvl1pPr>
              <a:spcAft>
                <a:spcPts val="200"/>
              </a:spcAft>
              <a:defRPr>
                <a:solidFill>
                  <a:schemeClr val="accent1"/>
                </a:solidFill>
              </a:defRPr>
            </a:lvl1pPr>
            <a:lvl2pPr>
              <a:spcAft>
                <a:spcPts val="200"/>
              </a:spcAft>
              <a:defRPr>
                <a:solidFill>
                  <a:schemeClr val="tx1"/>
                </a:solidFill>
              </a:defRPr>
            </a:lvl2pPr>
            <a:lvl3pPr>
              <a:spcAft>
                <a:spcPts val="200"/>
              </a:spcAft>
              <a:defRPr>
                <a:solidFill>
                  <a:schemeClr val="tx1"/>
                </a:solidFill>
              </a:defRPr>
            </a:lvl3pPr>
            <a:lvl4pPr>
              <a:spcAft>
                <a:spcPts val="200"/>
              </a:spcAft>
              <a:defRPr>
                <a:solidFill>
                  <a:schemeClr val="tx1"/>
                </a:solidFill>
              </a:defRPr>
            </a:lvl4pPr>
            <a:lvl5pPr>
              <a:spcAft>
                <a:spcPts val="200"/>
              </a:spcAft>
              <a:defRPr>
                <a:solidFill>
                  <a:schemeClr val="tx1"/>
                </a:solidFill>
              </a:defRPr>
            </a:lvl5pPr>
            <a:lvl6pPr>
              <a:spcAft>
                <a:spcPts val="200"/>
              </a:spcAft>
              <a:defRPr>
                <a:solidFill>
                  <a:schemeClr val="tx1"/>
                </a:solidFill>
              </a:defRPr>
            </a:lvl6pPr>
            <a:lvl7pPr>
              <a:spcAft>
                <a:spcPts val="200"/>
              </a:spcAft>
              <a:defRPr>
                <a:solidFill>
                  <a:schemeClr val="tx1"/>
                </a:solidFill>
              </a:defRPr>
            </a:lvl7pPr>
            <a:lvl8pPr>
              <a:spcAft>
                <a:spcPts val="200"/>
              </a:spcAft>
              <a:defRPr>
                <a:solidFill>
                  <a:schemeClr val="tx1"/>
                </a:solidFill>
              </a:defRPr>
            </a:lvl8pPr>
            <a:lvl9pPr>
              <a:spcAft>
                <a:spcPts val="200"/>
              </a:spcAft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Nutzen Sie die Buttons „Listenebene erhöhen/verringern“ auf dem Register Start, um zwischen den eingerichteten Textebenen zu wechseln. Text durch Klicken bearbeiten.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03A7B327-7039-4FEF-BCD3-A776D61F74B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367" y="332656"/>
            <a:ext cx="11376645" cy="455976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de-DE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B6A541B-8DBD-4A1F-B449-EDC1F731A461}"/>
              </a:ext>
            </a:extLst>
          </p:cNvPr>
          <p:cNvSpPr>
            <a:spLocks noGrp="1"/>
          </p:cNvSpPr>
          <p:nvPr>
            <p:ph type="dt" sz="half" idx="25"/>
          </p:nvPr>
        </p:nvSpPr>
        <p:spPr bwMode="gray">
          <a:xfrm>
            <a:off x="1343472" y="6381328"/>
            <a:ext cx="766235" cy="216024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|  01.05.2021  |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157B49BB-1BBD-45A9-BF1A-FAFDC69AE1DD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 bwMode="gray"/>
        <p:txBody>
          <a:bodyPr/>
          <a:lstStyle/>
          <a:p>
            <a:r>
              <a:rPr lang="de-DE" dirty="0"/>
              <a:t>Schwarz Folienbibliothek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64ABF0A-F350-417D-AEBE-40A262188572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 bwMode="gray"/>
        <p:txBody>
          <a:bodyPr/>
          <a:lstStyle/>
          <a:p>
            <a:pPr algn="r"/>
            <a:fld id="{8CFDFCC3-8B40-4EE5-B231-005F2F1C6A68}" type="slidenum">
              <a:rPr lang="de-DE" smtClean="0"/>
              <a:pPr algn="r"/>
              <a:t>‹#›</a:t>
            </a:fld>
            <a:endParaRPr lang="de-DE" dirty="0"/>
          </a:p>
        </p:txBody>
      </p:sp>
      <p:sp>
        <p:nvSpPr>
          <p:cNvPr id="20" name="Textplatzhalter 9">
            <a:extLst>
              <a:ext uri="{FF2B5EF4-FFF2-40B4-BE49-F238E27FC236}">
                <a16:creationId xmlns:a16="http://schemas.microsoft.com/office/drawing/2014/main" id="{C34650D0-58A9-4AD9-B04B-15F140A91FC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1" y="815122"/>
            <a:ext cx="11375381" cy="360008"/>
          </a:xfrm>
        </p:spPr>
        <p:txBody>
          <a:bodyPr tIns="0" bIns="0"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accent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accent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9pPr>
          </a:lstStyle>
          <a:p>
            <a:pPr lvl="0"/>
            <a:r>
              <a:rPr lang="de-DE"/>
              <a:t>Zusatz zum Folientitel</a:t>
            </a:r>
          </a:p>
        </p:txBody>
      </p:sp>
    </p:spTree>
    <p:extLst>
      <p:ext uri="{BB962C8B-B14F-4D97-AF65-F5344CB8AC3E}">
        <p14:creationId xmlns:p14="http://schemas.microsoft.com/office/powerpoint/2010/main" val="41989444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mit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D60E7720-E200-4DB9-AB42-74BC7931B8F5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 bwMode="gray">
          <a:xfrm>
            <a:off x="4367213" y="4005064"/>
            <a:ext cx="3457575" cy="2015676"/>
          </a:xfrm>
        </p:spPr>
        <p:txBody>
          <a:bodyPr/>
          <a:lstStyle>
            <a:lvl1pPr>
              <a:spcAft>
                <a:spcPts val="200"/>
              </a:spcAft>
              <a:defRPr>
                <a:solidFill>
                  <a:schemeClr val="accent1"/>
                </a:solidFill>
              </a:defRPr>
            </a:lvl1pPr>
            <a:lvl2pPr>
              <a:spcAft>
                <a:spcPts val="200"/>
              </a:spcAft>
              <a:defRPr>
                <a:solidFill>
                  <a:schemeClr val="tx1"/>
                </a:solidFill>
              </a:defRPr>
            </a:lvl2pPr>
            <a:lvl3pPr>
              <a:spcAft>
                <a:spcPts val="200"/>
              </a:spcAft>
              <a:defRPr>
                <a:solidFill>
                  <a:schemeClr val="tx1"/>
                </a:solidFill>
              </a:defRPr>
            </a:lvl3pPr>
            <a:lvl4pPr>
              <a:spcAft>
                <a:spcPts val="200"/>
              </a:spcAft>
              <a:defRPr>
                <a:solidFill>
                  <a:schemeClr val="tx1"/>
                </a:solidFill>
              </a:defRPr>
            </a:lvl4pPr>
            <a:lvl5pPr>
              <a:spcAft>
                <a:spcPts val="200"/>
              </a:spcAft>
              <a:defRPr>
                <a:solidFill>
                  <a:schemeClr val="tx1"/>
                </a:solidFill>
              </a:defRPr>
            </a:lvl5pPr>
            <a:lvl6pPr>
              <a:spcAft>
                <a:spcPts val="200"/>
              </a:spcAft>
              <a:defRPr>
                <a:solidFill>
                  <a:schemeClr val="tx1"/>
                </a:solidFill>
              </a:defRPr>
            </a:lvl6pPr>
            <a:lvl7pPr>
              <a:spcAft>
                <a:spcPts val="200"/>
              </a:spcAft>
              <a:defRPr>
                <a:solidFill>
                  <a:schemeClr val="tx1"/>
                </a:solidFill>
              </a:defRPr>
            </a:lvl7pPr>
            <a:lvl8pPr>
              <a:spcAft>
                <a:spcPts val="200"/>
              </a:spcAft>
              <a:defRPr>
                <a:solidFill>
                  <a:schemeClr val="tx1"/>
                </a:solidFill>
              </a:defRPr>
            </a:lvl8pPr>
            <a:lvl9pPr>
              <a:spcAft>
                <a:spcPts val="200"/>
              </a:spcAft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Nutzen Sie die Buttons „Listenebene erhöhen/verringern“ auf dem Register Start, um zwischen den eingerichteten Textebenen zu wechseln. Text durch Klicken bearbeiten.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0" name="Inhaltsplatzhalter 2">
            <a:extLst>
              <a:ext uri="{FF2B5EF4-FFF2-40B4-BE49-F238E27FC236}">
                <a16:creationId xmlns:a16="http://schemas.microsoft.com/office/drawing/2014/main" id="{8D1CB9BA-DB08-442B-BB4B-78414B60D076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 bwMode="gray">
          <a:xfrm>
            <a:off x="8256588" y="4005064"/>
            <a:ext cx="3527423" cy="2015676"/>
          </a:xfrm>
        </p:spPr>
        <p:txBody>
          <a:bodyPr/>
          <a:lstStyle>
            <a:lvl1pPr>
              <a:spcAft>
                <a:spcPts val="200"/>
              </a:spcAft>
              <a:defRPr>
                <a:solidFill>
                  <a:schemeClr val="accent1"/>
                </a:solidFill>
              </a:defRPr>
            </a:lvl1pPr>
            <a:lvl2pPr>
              <a:spcAft>
                <a:spcPts val="200"/>
              </a:spcAft>
              <a:defRPr>
                <a:solidFill>
                  <a:schemeClr val="tx1"/>
                </a:solidFill>
              </a:defRPr>
            </a:lvl2pPr>
            <a:lvl3pPr>
              <a:spcAft>
                <a:spcPts val="200"/>
              </a:spcAft>
              <a:defRPr>
                <a:solidFill>
                  <a:schemeClr val="tx1"/>
                </a:solidFill>
              </a:defRPr>
            </a:lvl3pPr>
            <a:lvl4pPr>
              <a:spcAft>
                <a:spcPts val="200"/>
              </a:spcAft>
              <a:defRPr>
                <a:solidFill>
                  <a:schemeClr val="tx1"/>
                </a:solidFill>
              </a:defRPr>
            </a:lvl4pPr>
            <a:lvl5pPr>
              <a:spcAft>
                <a:spcPts val="200"/>
              </a:spcAft>
              <a:defRPr>
                <a:solidFill>
                  <a:schemeClr val="tx1"/>
                </a:solidFill>
              </a:defRPr>
            </a:lvl5pPr>
            <a:lvl6pPr>
              <a:spcAft>
                <a:spcPts val="200"/>
              </a:spcAft>
              <a:defRPr>
                <a:solidFill>
                  <a:schemeClr val="tx1"/>
                </a:solidFill>
              </a:defRPr>
            </a:lvl6pPr>
            <a:lvl7pPr>
              <a:spcAft>
                <a:spcPts val="200"/>
              </a:spcAft>
              <a:defRPr>
                <a:solidFill>
                  <a:schemeClr val="tx1"/>
                </a:solidFill>
              </a:defRPr>
            </a:lvl7pPr>
            <a:lvl8pPr>
              <a:spcAft>
                <a:spcPts val="200"/>
              </a:spcAft>
              <a:defRPr>
                <a:solidFill>
                  <a:schemeClr val="tx1"/>
                </a:solidFill>
              </a:defRPr>
            </a:lvl8pPr>
            <a:lvl9pPr>
              <a:spcAft>
                <a:spcPts val="200"/>
              </a:spcAft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Nutzen Sie die Buttons „Listenebene erhöhen/verringern“ auf dem Register Start, um zwischen den eingerichteten Textebenen zu wechseln. Text durch Klicken bearbeiten.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22D10AAE-E753-4D86-8315-2C9BB6BF66E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407990" y="4005064"/>
            <a:ext cx="3527424" cy="2015676"/>
          </a:xfrm>
        </p:spPr>
        <p:txBody>
          <a:bodyPr/>
          <a:lstStyle>
            <a:lvl1pPr>
              <a:spcAft>
                <a:spcPts val="200"/>
              </a:spcAft>
              <a:defRPr>
                <a:solidFill>
                  <a:schemeClr val="accent1"/>
                </a:solidFill>
              </a:defRPr>
            </a:lvl1pPr>
            <a:lvl2pPr>
              <a:spcAft>
                <a:spcPts val="200"/>
              </a:spcAft>
              <a:defRPr>
                <a:solidFill>
                  <a:schemeClr val="tx1"/>
                </a:solidFill>
              </a:defRPr>
            </a:lvl2pPr>
            <a:lvl3pPr>
              <a:spcAft>
                <a:spcPts val="200"/>
              </a:spcAft>
              <a:defRPr>
                <a:solidFill>
                  <a:schemeClr val="tx1"/>
                </a:solidFill>
              </a:defRPr>
            </a:lvl3pPr>
            <a:lvl4pPr>
              <a:spcAft>
                <a:spcPts val="200"/>
              </a:spcAft>
              <a:defRPr>
                <a:solidFill>
                  <a:schemeClr val="tx1"/>
                </a:solidFill>
              </a:defRPr>
            </a:lvl4pPr>
            <a:lvl5pPr>
              <a:spcAft>
                <a:spcPts val="200"/>
              </a:spcAft>
              <a:defRPr>
                <a:solidFill>
                  <a:schemeClr val="tx1"/>
                </a:solidFill>
              </a:defRPr>
            </a:lvl5pPr>
            <a:lvl6pPr>
              <a:spcAft>
                <a:spcPts val="200"/>
              </a:spcAft>
              <a:defRPr>
                <a:solidFill>
                  <a:schemeClr val="tx1"/>
                </a:solidFill>
              </a:defRPr>
            </a:lvl6pPr>
            <a:lvl7pPr>
              <a:spcAft>
                <a:spcPts val="200"/>
              </a:spcAft>
              <a:defRPr>
                <a:solidFill>
                  <a:schemeClr val="tx1"/>
                </a:solidFill>
              </a:defRPr>
            </a:lvl7pPr>
            <a:lvl8pPr>
              <a:spcAft>
                <a:spcPts val="200"/>
              </a:spcAft>
              <a:defRPr>
                <a:solidFill>
                  <a:schemeClr val="tx1"/>
                </a:solidFill>
              </a:defRPr>
            </a:lvl8pPr>
            <a:lvl9pPr>
              <a:spcAft>
                <a:spcPts val="200"/>
              </a:spcAft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Nutzen Sie die Buttons „Listenebene erhöhen/verringern“ auf dem Register Start, um zwischen den eingerichteten Textebenen zu wechseln. Text durch Klicken bearbeiten.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988" y="6085294"/>
            <a:ext cx="11376022" cy="224002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Fußnote/Quellenangab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E8CB5280-FF36-45FF-A7EA-8A788876514B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119063" y="1556792"/>
            <a:ext cx="3948938" cy="2232248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AF7A689D-901E-4B0D-900B-83F0EE07FBD3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4223793" y="1556792"/>
            <a:ext cx="3744416" cy="2232248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AE73C007-3BC4-4F4D-B146-DBF572331A7F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8124000" y="1556792"/>
            <a:ext cx="3948938" cy="2232248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27E6E2B-12DD-4E70-9DC9-E16277F10BE3}"/>
              </a:ext>
            </a:extLst>
          </p:cNvPr>
          <p:cNvSpPr>
            <a:spLocks noGrp="1"/>
          </p:cNvSpPr>
          <p:nvPr>
            <p:ph type="dt" sz="half" idx="22"/>
          </p:nvPr>
        </p:nvSpPr>
        <p:spPr bwMode="gray">
          <a:xfrm>
            <a:off x="1343472" y="6381328"/>
            <a:ext cx="766235" cy="216024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|  01.05.2021  |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1F58CC43-C6AD-405B-845A-4DAEC35088CE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 bwMode="gray"/>
        <p:txBody>
          <a:bodyPr/>
          <a:lstStyle/>
          <a:p>
            <a:r>
              <a:rPr lang="de-DE" dirty="0"/>
              <a:t>Schwarz Folienbibliothek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C16EA1E-6930-43CB-9B35-3FCDAED05713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 bwMode="gray"/>
        <p:txBody>
          <a:bodyPr/>
          <a:lstStyle/>
          <a:p>
            <a:pPr algn="r"/>
            <a:fld id="{8CFDFCC3-8B40-4EE5-B231-005F2F1C6A68}" type="slidenum">
              <a:rPr lang="de-DE" smtClean="0"/>
              <a:pPr algn="r"/>
              <a:t>‹#›</a:t>
            </a:fld>
            <a:endParaRPr lang="de-DE" dirty="0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E32DBD2C-309A-4CD1-AF4F-1A474F6346EB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GB"/>
              <a:t>Click to edit Master title style</a:t>
            </a:r>
            <a:endParaRPr lang="de-DE"/>
          </a:p>
        </p:txBody>
      </p:sp>
      <p:sp>
        <p:nvSpPr>
          <p:cNvPr id="16" name="Textplatzhalter 9">
            <a:extLst>
              <a:ext uri="{FF2B5EF4-FFF2-40B4-BE49-F238E27FC236}">
                <a16:creationId xmlns:a16="http://schemas.microsoft.com/office/drawing/2014/main" id="{3D89C1AA-30ED-4138-885A-3F45EE066FE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2" y="815122"/>
            <a:ext cx="11376000" cy="360008"/>
          </a:xfrm>
        </p:spPr>
        <p:txBody>
          <a:bodyPr tIns="0" bIns="0"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accent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accent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9pPr>
          </a:lstStyle>
          <a:p>
            <a:pPr lvl="0"/>
            <a:r>
              <a:rPr lang="de-DE"/>
              <a:t>Zusatz zum Folientitel</a:t>
            </a:r>
          </a:p>
        </p:txBody>
      </p:sp>
    </p:spTree>
    <p:extLst>
      <p:ext uri="{BB962C8B-B14F-4D97-AF65-F5344CB8AC3E}">
        <p14:creationId xmlns:p14="http://schemas.microsoft.com/office/powerpoint/2010/main" val="9472524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mit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Inhaltsplatzhalter 2">
            <a:extLst>
              <a:ext uri="{FF2B5EF4-FFF2-40B4-BE49-F238E27FC236}">
                <a16:creationId xmlns:a16="http://schemas.microsoft.com/office/drawing/2014/main" id="{8AAAFE53-B217-4863-83D4-FC060BAB860C}"/>
              </a:ext>
            </a:extLst>
          </p:cNvPr>
          <p:cNvSpPr>
            <a:spLocks noGrp="1"/>
          </p:cNvSpPr>
          <p:nvPr>
            <p:ph sz="half" idx="22" hasCustomPrompt="1"/>
          </p:nvPr>
        </p:nvSpPr>
        <p:spPr bwMode="gray">
          <a:xfrm>
            <a:off x="9264632" y="4005064"/>
            <a:ext cx="2520000" cy="2016224"/>
          </a:xfrm>
        </p:spPr>
        <p:txBody>
          <a:bodyPr/>
          <a:lstStyle>
            <a:lvl1pPr>
              <a:spcAft>
                <a:spcPts val="200"/>
              </a:spcAft>
              <a:defRPr>
                <a:solidFill>
                  <a:schemeClr val="accent1"/>
                </a:solidFill>
              </a:defRPr>
            </a:lvl1pPr>
            <a:lvl2pPr>
              <a:spcAft>
                <a:spcPts val="200"/>
              </a:spcAft>
              <a:defRPr>
                <a:solidFill>
                  <a:schemeClr val="tx1"/>
                </a:solidFill>
              </a:defRPr>
            </a:lvl2pPr>
            <a:lvl3pPr>
              <a:spcAft>
                <a:spcPts val="200"/>
              </a:spcAft>
              <a:defRPr>
                <a:solidFill>
                  <a:schemeClr val="tx1"/>
                </a:solidFill>
              </a:defRPr>
            </a:lvl3pPr>
            <a:lvl4pPr>
              <a:spcAft>
                <a:spcPts val="200"/>
              </a:spcAft>
              <a:defRPr>
                <a:solidFill>
                  <a:schemeClr val="tx1"/>
                </a:solidFill>
              </a:defRPr>
            </a:lvl4pPr>
            <a:lvl5pPr>
              <a:spcAft>
                <a:spcPts val="200"/>
              </a:spcAft>
              <a:defRPr>
                <a:solidFill>
                  <a:schemeClr val="tx1"/>
                </a:solidFill>
              </a:defRPr>
            </a:lvl5pPr>
            <a:lvl6pPr>
              <a:spcAft>
                <a:spcPts val="200"/>
              </a:spcAft>
              <a:defRPr>
                <a:solidFill>
                  <a:schemeClr val="tx1"/>
                </a:solidFill>
              </a:defRPr>
            </a:lvl6pPr>
            <a:lvl7pPr>
              <a:spcAft>
                <a:spcPts val="200"/>
              </a:spcAft>
              <a:defRPr>
                <a:solidFill>
                  <a:schemeClr val="tx1"/>
                </a:solidFill>
              </a:defRPr>
            </a:lvl7pPr>
            <a:lvl8pPr>
              <a:spcAft>
                <a:spcPts val="200"/>
              </a:spcAft>
              <a:defRPr>
                <a:solidFill>
                  <a:schemeClr val="tx1"/>
                </a:solidFill>
              </a:defRPr>
            </a:lvl8pPr>
            <a:lvl9pPr>
              <a:spcAft>
                <a:spcPts val="200"/>
              </a:spcAft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Nutzen Sie die Buttons „Listenebene erhöhen/verringern“ auf dem Register Start, um zwischen den eingerichteten Textebenen zu wechseln. Text durch Klicken bearbeiten.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D60E7720-E200-4DB9-AB42-74BC7931B8F5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 bwMode="gray">
          <a:xfrm>
            <a:off x="3359696" y="4004516"/>
            <a:ext cx="2520000" cy="2016224"/>
          </a:xfrm>
        </p:spPr>
        <p:txBody>
          <a:bodyPr/>
          <a:lstStyle>
            <a:lvl1pPr>
              <a:spcAft>
                <a:spcPts val="200"/>
              </a:spcAft>
              <a:defRPr>
                <a:solidFill>
                  <a:schemeClr val="accent1"/>
                </a:solidFill>
              </a:defRPr>
            </a:lvl1pPr>
            <a:lvl2pPr>
              <a:spcAft>
                <a:spcPts val="200"/>
              </a:spcAft>
              <a:defRPr>
                <a:solidFill>
                  <a:schemeClr val="tx1"/>
                </a:solidFill>
              </a:defRPr>
            </a:lvl2pPr>
            <a:lvl3pPr>
              <a:spcAft>
                <a:spcPts val="200"/>
              </a:spcAft>
              <a:defRPr>
                <a:solidFill>
                  <a:schemeClr val="tx1"/>
                </a:solidFill>
              </a:defRPr>
            </a:lvl3pPr>
            <a:lvl4pPr>
              <a:spcAft>
                <a:spcPts val="200"/>
              </a:spcAft>
              <a:defRPr>
                <a:solidFill>
                  <a:schemeClr val="tx1"/>
                </a:solidFill>
              </a:defRPr>
            </a:lvl4pPr>
            <a:lvl5pPr>
              <a:spcAft>
                <a:spcPts val="200"/>
              </a:spcAft>
              <a:defRPr>
                <a:solidFill>
                  <a:schemeClr val="tx1"/>
                </a:solidFill>
              </a:defRPr>
            </a:lvl5pPr>
            <a:lvl6pPr>
              <a:spcAft>
                <a:spcPts val="200"/>
              </a:spcAft>
              <a:defRPr>
                <a:solidFill>
                  <a:schemeClr val="tx1"/>
                </a:solidFill>
              </a:defRPr>
            </a:lvl6pPr>
            <a:lvl7pPr>
              <a:spcAft>
                <a:spcPts val="200"/>
              </a:spcAft>
              <a:defRPr>
                <a:solidFill>
                  <a:schemeClr val="tx1"/>
                </a:solidFill>
              </a:defRPr>
            </a:lvl7pPr>
            <a:lvl8pPr>
              <a:spcAft>
                <a:spcPts val="200"/>
              </a:spcAft>
              <a:defRPr>
                <a:solidFill>
                  <a:schemeClr val="tx1"/>
                </a:solidFill>
              </a:defRPr>
            </a:lvl8pPr>
            <a:lvl9pPr>
              <a:spcAft>
                <a:spcPts val="200"/>
              </a:spcAft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Nutzen Sie die Buttons „Listenebene erhöhen/verringern“ auf dem Register Start, um zwischen den eingerichteten Textebenen zu wechseln. Text durch Klicken bearbeiten.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0" name="Inhaltsplatzhalter 2">
            <a:extLst>
              <a:ext uri="{FF2B5EF4-FFF2-40B4-BE49-F238E27FC236}">
                <a16:creationId xmlns:a16="http://schemas.microsoft.com/office/drawing/2014/main" id="{8D1CB9BA-DB08-442B-BB4B-78414B60D076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 bwMode="gray">
          <a:xfrm>
            <a:off x="6312024" y="4004516"/>
            <a:ext cx="2520000" cy="2016224"/>
          </a:xfrm>
        </p:spPr>
        <p:txBody>
          <a:bodyPr/>
          <a:lstStyle>
            <a:lvl1pPr>
              <a:spcAft>
                <a:spcPts val="200"/>
              </a:spcAft>
              <a:defRPr>
                <a:solidFill>
                  <a:schemeClr val="accent1"/>
                </a:solidFill>
              </a:defRPr>
            </a:lvl1pPr>
            <a:lvl2pPr>
              <a:spcAft>
                <a:spcPts val="200"/>
              </a:spcAft>
              <a:defRPr>
                <a:solidFill>
                  <a:schemeClr val="tx1"/>
                </a:solidFill>
              </a:defRPr>
            </a:lvl2pPr>
            <a:lvl3pPr>
              <a:spcAft>
                <a:spcPts val="200"/>
              </a:spcAft>
              <a:defRPr>
                <a:solidFill>
                  <a:schemeClr val="tx1"/>
                </a:solidFill>
              </a:defRPr>
            </a:lvl3pPr>
            <a:lvl4pPr>
              <a:spcAft>
                <a:spcPts val="200"/>
              </a:spcAft>
              <a:defRPr>
                <a:solidFill>
                  <a:schemeClr val="tx1"/>
                </a:solidFill>
              </a:defRPr>
            </a:lvl4pPr>
            <a:lvl5pPr>
              <a:spcAft>
                <a:spcPts val="200"/>
              </a:spcAft>
              <a:defRPr>
                <a:solidFill>
                  <a:schemeClr val="tx1"/>
                </a:solidFill>
              </a:defRPr>
            </a:lvl5pPr>
            <a:lvl6pPr>
              <a:spcAft>
                <a:spcPts val="200"/>
              </a:spcAft>
              <a:defRPr>
                <a:solidFill>
                  <a:schemeClr val="tx1"/>
                </a:solidFill>
              </a:defRPr>
            </a:lvl6pPr>
            <a:lvl7pPr>
              <a:spcAft>
                <a:spcPts val="200"/>
              </a:spcAft>
              <a:defRPr>
                <a:solidFill>
                  <a:schemeClr val="tx1"/>
                </a:solidFill>
              </a:defRPr>
            </a:lvl7pPr>
            <a:lvl8pPr>
              <a:spcAft>
                <a:spcPts val="200"/>
              </a:spcAft>
              <a:defRPr>
                <a:solidFill>
                  <a:schemeClr val="tx1"/>
                </a:solidFill>
              </a:defRPr>
            </a:lvl8pPr>
            <a:lvl9pPr>
              <a:spcAft>
                <a:spcPts val="200"/>
              </a:spcAft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Nutzen Sie die Buttons „Listenebene erhöhen/verringern“ auf dem Register Start, um zwischen den eingerichteten Textebenen zu wechseln. Text durch Klicken bearbeiten.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22D10AAE-E753-4D86-8315-2C9BB6BF66E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407989" y="4004516"/>
            <a:ext cx="2520000" cy="2016224"/>
          </a:xfrm>
        </p:spPr>
        <p:txBody>
          <a:bodyPr/>
          <a:lstStyle>
            <a:lvl1pPr>
              <a:spcAft>
                <a:spcPts val="200"/>
              </a:spcAft>
              <a:defRPr>
                <a:solidFill>
                  <a:schemeClr val="accent1"/>
                </a:solidFill>
              </a:defRPr>
            </a:lvl1pPr>
            <a:lvl2pPr>
              <a:spcAft>
                <a:spcPts val="200"/>
              </a:spcAft>
              <a:defRPr>
                <a:solidFill>
                  <a:schemeClr val="tx1"/>
                </a:solidFill>
              </a:defRPr>
            </a:lvl2pPr>
            <a:lvl3pPr>
              <a:spcAft>
                <a:spcPts val="200"/>
              </a:spcAft>
              <a:defRPr>
                <a:solidFill>
                  <a:schemeClr val="tx1"/>
                </a:solidFill>
              </a:defRPr>
            </a:lvl3pPr>
            <a:lvl4pPr>
              <a:spcAft>
                <a:spcPts val="200"/>
              </a:spcAft>
              <a:defRPr>
                <a:solidFill>
                  <a:schemeClr val="tx1"/>
                </a:solidFill>
              </a:defRPr>
            </a:lvl4pPr>
            <a:lvl5pPr>
              <a:spcAft>
                <a:spcPts val="200"/>
              </a:spcAft>
              <a:defRPr>
                <a:solidFill>
                  <a:schemeClr val="tx1"/>
                </a:solidFill>
              </a:defRPr>
            </a:lvl5pPr>
            <a:lvl6pPr>
              <a:spcAft>
                <a:spcPts val="200"/>
              </a:spcAft>
              <a:defRPr>
                <a:solidFill>
                  <a:schemeClr val="tx1"/>
                </a:solidFill>
              </a:defRPr>
            </a:lvl6pPr>
            <a:lvl7pPr>
              <a:spcAft>
                <a:spcPts val="200"/>
              </a:spcAft>
              <a:defRPr>
                <a:solidFill>
                  <a:schemeClr val="tx1"/>
                </a:solidFill>
              </a:defRPr>
            </a:lvl7pPr>
            <a:lvl8pPr>
              <a:spcAft>
                <a:spcPts val="200"/>
              </a:spcAft>
              <a:defRPr>
                <a:solidFill>
                  <a:schemeClr val="tx1"/>
                </a:solidFill>
              </a:defRPr>
            </a:lvl8pPr>
            <a:lvl9pPr>
              <a:spcAft>
                <a:spcPts val="200"/>
              </a:spcAft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Nutzen Sie die Buttons „Listenebene erhöhen/verringern“ auf dem Register Start, um zwischen den eingerichteten Textebenen zu wechseln. Text durch Klicken bearbeiten.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988" y="6093296"/>
            <a:ext cx="11376022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Fußnote/Quellenangab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E8CB5280-FF36-45FF-A7EA-8A788876514B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119062" y="1556792"/>
            <a:ext cx="2952000" cy="2232248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AF7A689D-901E-4B0D-900B-83F0EE07FBD3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3215992" y="1556792"/>
            <a:ext cx="2808000" cy="2232248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AE73C007-3BC4-4F4D-B146-DBF572331A7F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6168008" y="1556792"/>
            <a:ext cx="2808000" cy="2232248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C14F9E91-B48F-4001-B73E-2BE94299F49C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9120336" y="1556792"/>
            <a:ext cx="2952602" cy="2232248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EE904B8F-D1F0-4842-B327-A936AFCF3376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GB"/>
              <a:t>Click to edit Master title style</a:t>
            </a:r>
            <a:endParaRPr lang="de-DE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DBF6FD0A-A3A4-40DD-8B6C-99A332091956}"/>
              </a:ext>
            </a:extLst>
          </p:cNvPr>
          <p:cNvSpPr>
            <a:spLocks noGrp="1"/>
          </p:cNvSpPr>
          <p:nvPr>
            <p:ph type="dt" sz="half" idx="24"/>
          </p:nvPr>
        </p:nvSpPr>
        <p:spPr bwMode="gray">
          <a:xfrm>
            <a:off x="1343472" y="6381328"/>
            <a:ext cx="766235" cy="216024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|  01.05.2021  |</a:t>
            </a:r>
          </a:p>
        </p:txBody>
      </p:sp>
      <p:sp>
        <p:nvSpPr>
          <p:cNvPr id="15" name="Fußzeilenplatzhalter 14">
            <a:extLst>
              <a:ext uri="{FF2B5EF4-FFF2-40B4-BE49-F238E27FC236}">
                <a16:creationId xmlns:a16="http://schemas.microsoft.com/office/drawing/2014/main" id="{0B49309C-2F9A-4492-8BDA-EDA38384580D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 bwMode="gray"/>
        <p:txBody>
          <a:bodyPr/>
          <a:lstStyle/>
          <a:p>
            <a:r>
              <a:rPr lang="de-DE" dirty="0"/>
              <a:t>Schwarz Folienbibliothek</a:t>
            </a:r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E6A901A4-7021-49DB-9792-AB13327B8934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 bwMode="gray"/>
        <p:txBody>
          <a:bodyPr/>
          <a:lstStyle/>
          <a:p>
            <a:pPr algn="r"/>
            <a:fld id="{8CFDFCC3-8B40-4EE5-B231-005F2F1C6A68}" type="slidenum">
              <a:rPr lang="de-DE" smtClean="0"/>
              <a:pPr algn="r"/>
              <a:t>‹#›</a:t>
            </a:fld>
            <a:endParaRPr lang="de-DE" dirty="0"/>
          </a:p>
        </p:txBody>
      </p:sp>
      <p:sp>
        <p:nvSpPr>
          <p:cNvPr id="22" name="Textplatzhalter 9">
            <a:extLst>
              <a:ext uri="{FF2B5EF4-FFF2-40B4-BE49-F238E27FC236}">
                <a16:creationId xmlns:a16="http://schemas.microsoft.com/office/drawing/2014/main" id="{5876DD2E-A3CC-4078-9C1B-FBA47046FCA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2" y="815122"/>
            <a:ext cx="11376000" cy="360008"/>
          </a:xfrm>
        </p:spPr>
        <p:txBody>
          <a:bodyPr tIns="0" bIns="0"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accent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accent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9pPr>
          </a:lstStyle>
          <a:p>
            <a:pPr lvl="0"/>
            <a:r>
              <a:rPr lang="de-DE"/>
              <a:t>Zusatz zum Folientitel</a:t>
            </a:r>
          </a:p>
        </p:txBody>
      </p:sp>
    </p:spTree>
    <p:extLst>
      <p:ext uri="{BB962C8B-B14F-4D97-AF65-F5344CB8AC3E}">
        <p14:creationId xmlns:p14="http://schemas.microsoft.com/office/powerpoint/2010/main" val="6089024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ihandform: Form 10">
            <a:extLst>
              <a:ext uri="{FF2B5EF4-FFF2-40B4-BE49-F238E27FC236}">
                <a16:creationId xmlns:a16="http://schemas.microsoft.com/office/drawing/2014/main" id="{33D862F6-3C0A-4DA0-B849-6031AB571BB4}"/>
              </a:ext>
            </a:extLst>
          </p:cNvPr>
          <p:cNvSpPr/>
          <p:nvPr userDrawn="1"/>
        </p:nvSpPr>
        <p:spPr bwMode="gray">
          <a:xfrm>
            <a:off x="0" y="0"/>
            <a:ext cx="12191999" cy="6858000"/>
          </a:xfrm>
          <a:custGeom>
            <a:avLst/>
            <a:gdLst>
              <a:gd name="connsiteX0" fmla="*/ 108001 w 12084000"/>
              <a:gd name="connsiteY0" fmla="*/ 0 h 6642000"/>
              <a:gd name="connsiteX1" fmla="*/ 12084000 w 12084000"/>
              <a:gd name="connsiteY1" fmla="*/ 0 h 6642000"/>
              <a:gd name="connsiteX2" fmla="*/ 12084000 w 12084000"/>
              <a:gd name="connsiteY2" fmla="*/ 6642000 h 6642000"/>
              <a:gd name="connsiteX3" fmla="*/ 108001 w 12084000"/>
              <a:gd name="connsiteY3" fmla="*/ 6642000 h 6642000"/>
              <a:gd name="connsiteX4" fmla="*/ 0 w 12084000"/>
              <a:gd name="connsiteY4" fmla="*/ 0 h 6642000"/>
              <a:gd name="connsiteX5" fmla="*/ 1 w 12084000"/>
              <a:gd name="connsiteY5" fmla="*/ 0 h 6642000"/>
              <a:gd name="connsiteX6" fmla="*/ 1 w 12084000"/>
              <a:gd name="connsiteY6" fmla="*/ 6642000 h 6642000"/>
              <a:gd name="connsiteX7" fmla="*/ 0 w 12084000"/>
              <a:gd name="connsiteY7" fmla="*/ 6642000 h 6642000"/>
              <a:gd name="connsiteX0" fmla="*/ 108001 w 12084000"/>
              <a:gd name="connsiteY0" fmla="*/ 0 h 6642000"/>
              <a:gd name="connsiteX1" fmla="*/ 12084000 w 12084000"/>
              <a:gd name="connsiteY1" fmla="*/ 0 h 6642000"/>
              <a:gd name="connsiteX2" fmla="*/ 12084000 w 12084000"/>
              <a:gd name="connsiteY2" fmla="*/ 6642000 h 6642000"/>
              <a:gd name="connsiteX3" fmla="*/ 108001 w 12084000"/>
              <a:gd name="connsiteY3" fmla="*/ 6642000 h 6642000"/>
              <a:gd name="connsiteX4" fmla="*/ 108001 w 12084000"/>
              <a:gd name="connsiteY4" fmla="*/ 0 h 6642000"/>
              <a:gd name="connsiteX5" fmla="*/ 0 w 12084000"/>
              <a:gd name="connsiteY5" fmla="*/ 6642000 h 6642000"/>
              <a:gd name="connsiteX6" fmla="*/ 1 w 12084000"/>
              <a:gd name="connsiteY6" fmla="*/ 0 h 6642000"/>
              <a:gd name="connsiteX7" fmla="*/ 1 w 12084000"/>
              <a:gd name="connsiteY7" fmla="*/ 6642000 h 6642000"/>
              <a:gd name="connsiteX8" fmla="*/ 0 w 12084000"/>
              <a:gd name="connsiteY8" fmla="*/ 6642000 h 6642000"/>
              <a:gd name="connsiteX0" fmla="*/ 108001 w 12084000"/>
              <a:gd name="connsiteY0" fmla="*/ 0 h 6642000"/>
              <a:gd name="connsiteX1" fmla="*/ 12084000 w 12084000"/>
              <a:gd name="connsiteY1" fmla="*/ 0 h 6642000"/>
              <a:gd name="connsiteX2" fmla="*/ 12084000 w 12084000"/>
              <a:gd name="connsiteY2" fmla="*/ 6642000 h 6642000"/>
              <a:gd name="connsiteX3" fmla="*/ 108001 w 12084000"/>
              <a:gd name="connsiteY3" fmla="*/ 6642000 h 6642000"/>
              <a:gd name="connsiteX4" fmla="*/ 108001 w 12084000"/>
              <a:gd name="connsiteY4" fmla="*/ 0 h 6642000"/>
              <a:gd name="connsiteX5" fmla="*/ 0 w 12084000"/>
              <a:gd name="connsiteY5" fmla="*/ 6642000 h 6642000"/>
              <a:gd name="connsiteX6" fmla="*/ 1 w 12084000"/>
              <a:gd name="connsiteY6" fmla="*/ 6642000 h 6642000"/>
              <a:gd name="connsiteX7" fmla="*/ 0 w 12084000"/>
              <a:gd name="connsiteY7" fmla="*/ 6642000 h 6642000"/>
              <a:gd name="connsiteX0" fmla="*/ 0 w 11975999"/>
              <a:gd name="connsiteY0" fmla="*/ 0 h 6642000"/>
              <a:gd name="connsiteX1" fmla="*/ 11975999 w 11975999"/>
              <a:gd name="connsiteY1" fmla="*/ 0 h 6642000"/>
              <a:gd name="connsiteX2" fmla="*/ 11975999 w 11975999"/>
              <a:gd name="connsiteY2" fmla="*/ 6642000 h 6642000"/>
              <a:gd name="connsiteX3" fmla="*/ 0 w 11975999"/>
              <a:gd name="connsiteY3" fmla="*/ 6642000 h 6642000"/>
              <a:gd name="connsiteX4" fmla="*/ 0 w 11975999"/>
              <a:gd name="connsiteY4" fmla="*/ 0 h 664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75999" h="6642000">
                <a:moveTo>
                  <a:pt x="0" y="0"/>
                </a:moveTo>
                <a:lnTo>
                  <a:pt x="11975999" y="0"/>
                </a:lnTo>
                <a:lnTo>
                  <a:pt x="11975999" y="6642000"/>
                </a:lnTo>
                <a:lnTo>
                  <a:pt x="0" y="6642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600" dirty="0">
              <a:solidFill>
                <a:schemeClr val="bg1"/>
              </a:solidFill>
            </a:endParaRPr>
          </a:p>
        </p:txBody>
      </p:sp>
      <p:sp>
        <p:nvSpPr>
          <p:cNvPr id="13" name="Freihandform: Form 12">
            <a:extLst>
              <a:ext uri="{FF2B5EF4-FFF2-40B4-BE49-F238E27FC236}">
                <a16:creationId xmlns:a16="http://schemas.microsoft.com/office/drawing/2014/main" id="{B80F7CB1-C08B-4799-BB30-E1295167F638}"/>
              </a:ext>
            </a:extLst>
          </p:cNvPr>
          <p:cNvSpPr/>
          <p:nvPr userDrawn="1"/>
        </p:nvSpPr>
        <p:spPr bwMode="gray">
          <a:xfrm>
            <a:off x="0" y="0"/>
            <a:ext cx="5033937" cy="6858000"/>
          </a:xfrm>
          <a:custGeom>
            <a:avLst/>
            <a:gdLst>
              <a:gd name="connsiteX0" fmla="*/ 0 w 4952975"/>
              <a:gd name="connsiteY0" fmla="*/ 0 h 6858000"/>
              <a:gd name="connsiteX1" fmla="*/ 206326 w 4952975"/>
              <a:gd name="connsiteY1" fmla="*/ 0 h 6858000"/>
              <a:gd name="connsiteX2" fmla="*/ 1152869 w 4952975"/>
              <a:gd name="connsiteY2" fmla="*/ 0 h 6858000"/>
              <a:gd name="connsiteX3" fmla="*/ 3359696 w 4952975"/>
              <a:gd name="connsiteY3" fmla="*/ 0 h 6858000"/>
              <a:gd name="connsiteX4" fmla="*/ 4952975 w 4952975"/>
              <a:gd name="connsiteY4" fmla="*/ 3428998 h 6858000"/>
              <a:gd name="connsiteX5" fmla="*/ 3359694 w 4952975"/>
              <a:gd name="connsiteY5" fmla="*/ 6858000 h 6858000"/>
              <a:gd name="connsiteX6" fmla="*/ 0 w 4952975"/>
              <a:gd name="connsiteY6" fmla="*/ 6858000 h 6858000"/>
              <a:gd name="connsiteX0" fmla="*/ 0 w 5033937"/>
              <a:gd name="connsiteY0" fmla="*/ 0 h 6858000"/>
              <a:gd name="connsiteX1" fmla="*/ 206326 w 5033937"/>
              <a:gd name="connsiteY1" fmla="*/ 0 h 6858000"/>
              <a:gd name="connsiteX2" fmla="*/ 1152869 w 5033937"/>
              <a:gd name="connsiteY2" fmla="*/ 0 h 6858000"/>
              <a:gd name="connsiteX3" fmla="*/ 3359696 w 5033937"/>
              <a:gd name="connsiteY3" fmla="*/ 0 h 6858000"/>
              <a:gd name="connsiteX4" fmla="*/ 5033937 w 5033937"/>
              <a:gd name="connsiteY4" fmla="*/ 3428998 h 6858000"/>
              <a:gd name="connsiteX5" fmla="*/ 3359694 w 5033937"/>
              <a:gd name="connsiteY5" fmla="*/ 6858000 h 6858000"/>
              <a:gd name="connsiteX6" fmla="*/ 0 w 5033937"/>
              <a:gd name="connsiteY6" fmla="*/ 6858000 h 6858000"/>
              <a:gd name="connsiteX7" fmla="*/ 0 w 5033937"/>
              <a:gd name="connsiteY7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33937" h="6858000">
                <a:moveTo>
                  <a:pt x="0" y="0"/>
                </a:moveTo>
                <a:lnTo>
                  <a:pt x="206326" y="0"/>
                </a:lnTo>
                <a:lnTo>
                  <a:pt x="1152869" y="0"/>
                </a:lnTo>
                <a:lnTo>
                  <a:pt x="3359696" y="0"/>
                </a:lnTo>
                <a:lnTo>
                  <a:pt x="5033937" y="3428998"/>
                </a:lnTo>
                <a:lnTo>
                  <a:pt x="3359694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dirty="0">
              <a:solidFill>
                <a:schemeClr val="bg1"/>
              </a:solidFill>
            </a:endParaRPr>
          </a:p>
        </p:txBody>
      </p:sp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1FAAE8-D7A5-42BB-B27C-AE3FEDB2B0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87449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1FAAE8-D7A5-42BB-B27C-AE3FEDB2B0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4843BD60-3C21-4DFB-9315-8E1B14158B5E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gradFill>
            <a:gsLst>
              <a:gs pos="0">
                <a:srgbClr val="006FB9"/>
              </a:gs>
              <a:gs pos="60000">
                <a:srgbClr val="0050AA"/>
              </a:gs>
              <a:gs pos="100000">
                <a:srgbClr val="003565"/>
              </a:gs>
            </a:gsLst>
            <a:lin ang="0" scaled="0"/>
          </a:gra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8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Lidl Font Pro" panose="02000000000000000000" pitchFamily="2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551384" y="2937818"/>
            <a:ext cx="3816424" cy="923230"/>
          </a:xfrm>
        </p:spPr>
        <p:txBody>
          <a:bodyPr lIns="0" tIns="144000" rIns="0" bIns="0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3600" b="1" i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/>
              <a:t>Vielen Dank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DD2EEC3-FC57-45CE-AE1E-E4B35AFF42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8616632" y="2925016"/>
            <a:ext cx="3168000" cy="1512168"/>
          </a:xfrm>
        </p:spPr>
        <p:txBody>
          <a:bodyPr tIns="180000" anchor="t" anchorCtr="0"/>
          <a:lstStyle>
            <a:lvl1pPr>
              <a:lnSpc>
                <a:spcPct val="100000"/>
              </a:lnSpc>
              <a:spcAft>
                <a:spcPts val="600"/>
              </a:spcAft>
              <a:defRPr>
                <a:solidFill>
                  <a:schemeClr val="accent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 sz="14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 sz="14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 sz="1400"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 sz="1400">
                <a:solidFill>
                  <a:schemeClr val="tx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 sz="1400">
                <a:solidFill>
                  <a:schemeClr val="tx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 sz="1400"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 sz="1400">
                <a:solidFill>
                  <a:schemeClr val="tx1"/>
                </a:solidFill>
              </a:defRPr>
            </a:lvl9pPr>
          </a:lstStyle>
          <a:p>
            <a:r>
              <a:rPr lang="de-DE"/>
              <a:t>Vorname Nachname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304883" y="2925016"/>
            <a:ext cx="3168000" cy="1512168"/>
          </a:xfrm>
        </p:spPr>
        <p:txBody>
          <a:bodyPr tIns="180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i="0">
                <a:solidFill>
                  <a:schemeClr val="accent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/>
              <a:t>Vorname Nachname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endParaRPr lang="de-DE"/>
          </a:p>
        </p:txBody>
      </p:sp>
      <p:sp>
        <p:nvSpPr>
          <p:cNvPr id="24" name="Textplatzhalter 4">
            <a:extLst>
              <a:ext uri="{FF2B5EF4-FFF2-40B4-BE49-F238E27FC236}">
                <a16:creationId xmlns:a16="http://schemas.microsoft.com/office/drawing/2014/main" id="{676B4420-30A9-462A-8B6C-EBBDFAED7BE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616632" y="4437184"/>
            <a:ext cx="3168000" cy="648000"/>
          </a:xfrm>
        </p:spPr>
        <p:txBody>
          <a:bodyPr anchor="t" anchorCtr="0"/>
          <a:lstStyle>
            <a:lvl1pPr>
              <a:lnSpc>
                <a:spcPct val="100000"/>
              </a:lnSpc>
              <a:spcAft>
                <a:spcPts val="200"/>
              </a:spcAft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 sz="14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 sz="14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 sz="1400" b="0"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 sz="1400" b="0">
                <a:solidFill>
                  <a:schemeClr val="tx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 sz="1400" b="0">
                <a:solidFill>
                  <a:schemeClr val="tx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 sz="1400" b="0"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 sz="1400" b="0">
                <a:solidFill>
                  <a:schemeClr val="tx1"/>
                </a:solidFill>
              </a:defRPr>
            </a:lvl9pPr>
          </a:lstStyle>
          <a:p>
            <a:pPr>
              <a:spcAft>
                <a:spcPts val="200"/>
              </a:spcAft>
            </a:pPr>
            <a:r>
              <a:rPr lang="de-DE">
                <a:latin typeface="+mn-lt"/>
              </a:rPr>
              <a:t>Tel</a:t>
            </a:r>
            <a:br>
              <a:rPr lang="de-DE">
                <a:latin typeface="+mn-lt"/>
              </a:rPr>
            </a:br>
            <a:r>
              <a:rPr lang="de-DE">
                <a:latin typeface="+mn-lt"/>
              </a:rPr>
              <a:t>E-Mail</a:t>
            </a:r>
          </a:p>
        </p:txBody>
      </p:sp>
      <p:sp>
        <p:nvSpPr>
          <p:cNvPr id="25" name="Textplatzhalter 4">
            <a:extLst>
              <a:ext uri="{FF2B5EF4-FFF2-40B4-BE49-F238E27FC236}">
                <a16:creationId xmlns:a16="http://schemas.microsoft.com/office/drawing/2014/main" id="{FE0E7FF9-D812-4D7F-8F85-17DEDFD8ABA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304616" y="4437184"/>
            <a:ext cx="3168000" cy="648000"/>
          </a:xfrm>
        </p:spPr>
        <p:txBody>
          <a:bodyPr anchor="t" anchorCtr="0"/>
          <a:lstStyle>
            <a:lvl1pPr>
              <a:lnSpc>
                <a:spcPct val="100000"/>
              </a:lnSpc>
              <a:spcAft>
                <a:spcPts val="200"/>
              </a:spcAft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 sz="14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 sz="14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 sz="1400" b="0"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 sz="1400" b="0">
                <a:solidFill>
                  <a:schemeClr val="tx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 sz="1400" b="0">
                <a:solidFill>
                  <a:schemeClr val="tx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 sz="1400" b="0"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 sz="1400" b="0">
                <a:solidFill>
                  <a:schemeClr val="tx1"/>
                </a:solidFill>
              </a:defRPr>
            </a:lvl9pPr>
          </a:lstStyle>
          <a:p>
            <a:pPr>
              <a:spcAft>
                <a:spcPts val="200"/>
              </a:spcAft>
            </a:pPr>
            <a:r>
              <a:rPr lang="de-DE">
                <a:latin typeface="+mn-lt"/>
              </a:rPr>
              <a:t>Tel</a:t>
            </a:r>
            <a:br>
              <a:rPr lang="de-DE">
                <a:latin typeface="+mn-lt"/>
              </a:rPr>
            </a:br>
            <a:r>
              <a:rPr lang="de-DE">
                <a:latin typeface="+mn-lt"/>
              </a:rPr>
              <a:t>E-Mail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B4DC1B2-D752-463A-BF98-605012674B9D}"/>
              </a:ext>
            </a:extLst>
          </p:cNvPr>
          <p:cNvSpPr/>
          <p:nvPr userDrawn="1"/>
        </p:nvSpPr>
        <p:spPr bwMode="gray">
          <a:xfrm>
            <a:off x="552004" y="0"/>
            <a:ext cx="1511548" cy="198884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dirty="0">
              <a:solidFill>
                <a:schemeClr val="tx1"/>
              </a:solidFill>
            </a:endParaRP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3C5D102E-CEDE-40DA-9B45-0C104F96D46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51880" y="128946"/>
            <a:ext cx="1512000" cy="18598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08796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7" userDrawn="1">
          <p15:clr>
            <a:srgbClr val="F26B43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ihandform: Form 10">
            <a:extLst>
              <a:ext uri="{FF2B5EF4-FFF2-40B4-BE49-F238E27FC236}">
                <a16:creationId xmlns:a16="http://schemas.microsoft.com/office/drawing/2014/main" id="{33D862F6-3C0A-4DA0-B849-6031AB571BB4}"/>
              </a:ext>
            </a:extLst>
          </p:cNvPr>
          <p:cNvSpPr/>
          <p:nvPr userDrawn="1"/>
        </p:nvSpPr>
        <p:spPr bwMode="gray">
          <a:xfrm>
            <a:off x="1" y="0"/>
            <a:ext cx="12192000" cy="6852426"/>
          </a:xfrm>
          <a:custGeom>
            <a:avLst/>
            <a:gdLst>
              <a:gd name="connsiteX0" fmla="*/ 108001 w 12084000"/>
              <a:gd name="connsiteY0" fmla="*/ 0 h 6642000"/>
              <a:gd name="connsiteX1" fmla="*/ 12084000 w 12084000"/>
              <a:gd name="connsiteY1" fmla="*/ 0 h 6642000"/>
              <a:gd name="connsiteX2" fmla="*/ 12084000 w 12084000"/>
              <a:gd name="connsiteY2" fmla="*/ 6642000 h 6642000"/>
              <a:gd name="connsiteX3" fmla="*/ 108001 w 12084000"/>
              <a:gd name="connsiteY3" fmla="*/ 6642000 h 6642000"/>
              <a:gd name="connsiteX4" fmla="*/ 0 w 12084000"/>
              <a:gd name="connsiteY4" fmla="*/ 0 h 6642000"/>
              <a:gd name="connsiteX5" fmla="*/ 1 w 12084000"/>
              <a:gd name="connsiteY5" fmla="*/ 0 h 6642000"/>
              <a:gd name="connsiteX6" fmla="*/ 1 w 12084000"/>
              <a:gd name="connsiteY6" fmla="*/ 6642000 h 6642000"/>
              <a:gd name="connsiteX7" fmla="*/ 0 w 12084000"/>
              <a:gd name="connsiteY7" fmla="*/ 6642000 h 6642000"/>
              <a:gd name="connsiteX0" fmla="*/ 108001 w 12084000"/>
              <a:gd name="connsiteY0" fmla="*/ 0 h 6642000"/>
              <a:gd name="connsiteX1" fmla="*/ 12084000 w 12084000"/>
              <a:gd name="connsiteY1" fmla="*/ 0 h 6642000"/>
              <a:gd name="connsiteX2" fmla="*/ 12084000 w 12084000"/>
              <a:gd name="connsiteY2" fmla="*/ 6642000 h 6642000"/>
              <a:gd name="connsiteX3" fmla="*/ 108001 w 12084000"/>
              <a:gd name="connsiteY3" fmla="*/ 6642000 h 6642000"/>
              <a:gd name="connsiteX4" fmla="*/ 108001 w 12084000"/>
              <a:gd name="connsiteY4" fmla="*/ 0 h 6642000"/>
              <a:gd name="connsiteX5" fmla="*/ 0 w 12084000"/>
              <a:gd name="connsiteY5" fmla="*/ 6642000 h 6642000"/>
              <a:gd name="connsiteX6" fmla="*/ 1 w 12084000"/>
              <a:gd name="connsiteY6" fmla="*/ 0 h 6642000"/>
              <a:gd name="connsiteX7" fmla="*/ 1 w 12084000"/>
              <a:gd name="connsiteY7" fmla="*/ 6642000 h 6642000"/>
              <a:gd name="connsiteX8" fmla="*/ 0 w 12084000"/>
              <a:gd name="connsiteY8" fmla="*/ 6642000 h 6642000"/>
              <a:gd name="connsiteX0" fmla="*/ 108001 w 12084000"/>
              <a:gd name="connsiteY0" fmla="*/ 0 h 6642000"/>
              <a:gd name="connsiteX1" fmla="*/ 12084000 w 12084000"/>
              <a:gd name="connsiteY1" fmla="*/ 0 h 6642000"/>
              <a:gd name="connsiteX2" fmla="*/ 12084000 w 12084000"/>
              <a:gd name="connsiteY2" fmla="*/ 6642000 h 6642000"/>
              <a:gd name="connsiteX3" fmla="*/ 108001 w 12084000"/>
              <a:gd name="connsiteY3" fmla="*/ 6642000 h 6642000"/>
              <a:gd name="connsiteX4" fmla="*/ 108001 w 12084000"/>
              <a:gd name="connsiteY4" fmla="*/ 0 h 6642000"/>
              <a:gd name="connsiteX5" fmla="*/ 0 w 12084000"/>
              <a:gd name="connsiteY5" fmla="*/ 6642000 h 6642000"/>
              <a:gd name="connsiteX6" fmla="*/ 1 w 12084000"/>
              <a:gd name="connsiteY6" fmla="*/ 6642000 h 6642000"/>
              <a:gd name="connsiteX7" fmla="*/ 0 w 12084000"/>
              <a:gd name="connsiteY7" fmla="*/ 6642000 h 6642000"/>
              <a:gd name="connsiteX0" fmla="*/ 0 w 11975999"/>
              <a:gd name="connsiteY0" fmla="*/ 0 h 6642000"/>
              <a:gd name="connsiteX1" fmla="*/ 11975999 w 11975999"/>
              <a:gd name="connsiteY1" fmla="*/ 0 h 6642000"/>
              <a:gd name="connsiteX2" fmla="*/ 11975999 w 11975999"/>
              <a:gd name="connsiteY2" fmla="*/ 6642000 h 6642000"/>
              <a:gd name="connsiteX3" fmla="*/ 0 w 11975999"/>
              <a:gd name="connsiteY3" fmla="*/ 6642000 h 6642000"/>
              <a:gd name="connsiteX4" fmla="*/ 0 w 11975999"/>
              <a:gd name="connsiteY4" fmla="*/ 0 h 664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75999" h="6642000">
                <a:moveTo>
                  <a:pt x="0" y="0"/>
                </a:moveTo>
                <a:lnTo>
                  <a:pt x="11975999" y="0"/>
                </a:lnTo>
                <a:lnTo>
                  <a:pt x="11975999" y="6642000"/>
                </a:lnTo>
                <a:lnTo>
                  <a:pt x="0" y="6642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600" dirty="0">
              <a:solidFill>
                <a:schemeClr val="bg1"/>
              </a:solidFill>
            </a:endParaRP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6AE3585F-7C6A-45A5-92D5-969017F509D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-1269" y="-1"/>
            <a:ext cx="6004648" cy="6858000"/>
          </a:xfrm>
          <a:custGeom>
            <a:avLst/>
            <a:gdLst>
              <a:gd name="connsiteX0" fmla="*/ 553273 w 6004648"/>
              <a:gd name="connsiteY0" fmla="*/ 1 h 6858000"/>
              <a:gd name="connsiteX1" fmla="*/ 553273 w 6004648"/>
              <a:gd name="connsiteY1" fmla="*/ 1988841 h 6858000"/>
              <a:gd name="connsiteX2" fmla="*/ 2064821 w 6004648"/>
              <a:gd name="connsiteY2" fmla="*/ 1988841 h 6858000"/>
              <a:gd name="connsiteX3" fmla="*/ 2064821 w 6004648"/>
              <a:gd name="connsiteY3" fmla="*/ 1 h 6858000"/>
              <a:gd name="connsiteX4" fmla="*/ 1268 w 6004648"/>
              <a:gd name="connsiteY4" fmla="*/ 0 h 6858000"/>
              <a:gd name="connsiteX5" fmla="*/ 120331 w 6004648"/>
              <a:gd name="connsiteY5" fmla="*/ 0 h 6858000"/>
              <a:gd name="connsiteX6" fmla="*/ 409256 w 6004648"/>
              <a:gd name="connsiteY6" fmla="*/ 0 h 6858000"/>
              <a:gd name="connsiteX7" fmla="*/ 1920804 w 6004648"/>
              <a:gd name="connsiteY7" fmla="*/ 0 h 6858000"/>
              <a:gd name="connsiteX8" fmla="*/ 2178969 w 6004648"/>
              <a:gd name="connsiteY8" fmla="*/ 0 h 6858000"/>
              <a:gd name="connsiteX9" fmla="*/ 2496818 w 6004648"/>
              <a:gd name="connsiteY9" fmla="*/ 0 h 6858000"/>
              <a:gd name="connsiteX10" fmla="*/ 4331757 w 6004648"/>
              <a:gd name="connsiteY10" fmla="*/ 0 h 6858000"/>
              <a:gd name="connsiteX11" fmla="*/ 6004648 w 6004648"/>
              <a:gd name="connsiteY11" fmla="*/ 3428998 h 6858000"/>
              <a:gd name="connsiteX12" fmla="*/ 4331756 w 6004648"/>
              <a:gd name="connsiteY12" fmla="*/ 6858000 h 6858000"/>
              <a:gd name="connsiteX13" fmla="*/ 1002418 w 6004648"/>
              <a:gd name="connsiteY13" fmla="*/ 6858000 h 6858000"/>
              <a:gd name="connsiteX14" fmla="*/ 1002418 w 6004648"/>
              <a:gd name="connsiteY14" fmla="*/ 6857229 h 6858000"/>
              <a:gd name="connsiteX15" fmla="*/ 0 w 6004648"/>
              <a:gd name="connsiteY15" fmla="*/ 6857229 h 6858000"/>
              <a:gd name="connsiteX16" fmla="*/ 0 w 6004648"/>
              <a:gd name="connsiteY16" fmla="*/ 768 h 6858000"/>
              <a:gd name="connsiteX17" fmla="*/ 1268 w 6004648"/>
              <a:gd name="connsiteY17" fmla="*/ 76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6004648" h="6858000">
                <a:moveTo>
                  <a:pt x="553273" y="1"/>
                </a:moveTo>
                <a:lnTo>
                  <a:pt x="553273" y="1988841"/>
                </a:lnTo>
                <a:lnTo>
                  <a:pt x="2064821" y="1988841"/>
                </a:lnTo>
                <a:lnTo>
                  <a:pt x="2064821" y="1"/>
                </a:lnTo>
                <a:close/>
                <a:moveTo>
                  <a:pt x="1268" y="0"/>
                </a:moveTo>
                <a:lnTo>
                  <a:pt x="120331" y="0"/>
                </a:lnTo>
                <a:lnTo>
                  <a:pt x="409256" y="0"/>
                </a:lnTo>
                <a:lnTo>
                  <a:pt x="1920804" y="0"/>
                </a:lnTo>
                <a:lnTo>
                  <a:pt x="2178969" y="0"/>
                </a:lnTo>
                <a:lnTo>
                  <a:pt x="2496818" y="0"/>
                </a:lnTo>
                <a:lnTo>
                  <a:pt x="4331757" y="0"/>
                </a:lnTo>
                <a:lnTo>
                  <a:pt x="6004648" y="3428998"/>
                </a:lnTo>
                <a:lnTo>
                  <a:pt x="4331756" y="6858000"/>
                </a:lnTo>
                <a:lnTo>
                  <a:pt x="1002418" y="6858000"/>
                </a:lnTo>
                <a:lnTo>
                  <a:pt x="1002418" y="6857229"/>
                </a:lnTo>
                <a:lnTo>
                  <a:pt x="0" y="6857229"/>
                </a:lnTo>
                <a:lnTo>
                  <a:pt x="0" y="768"/>
                </a:lnTo>
                <a:lnTo>
                  <a:pt x="1268" y="768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>
              <a:defRPr/>
            </a:lvl1pPr>
          </a:lstStyle>
          <a:p>
            <a:r>
              <a:rPr lang="en-US" dirty="0"/>
              <a:t> </a:t>
            </a:r>
          </a:p>
        </p:txBody>
      </p:sp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1FAAE8-D7A5-42BB-B27C-AE3FEDB2B0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18631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1FAAE8-D7A5-42BB-B27C-AE3FEDB2B0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4843BD60-3C21-4DFB-9315-8E1B14158B5E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gradFill>
            <a:gsLst>
              <a:gs pos="0">
                <a:srgbClr val="006FB9"/>
              </a:gs>
              <a:gs pos="60000">
                <a:srgbClr val="0050AA"/>
              </a:gs>
              <a:gs pos="100000">
                <a:srgbClr val="003565"/>
              </a:gs>
            </a:gsLst>
            <a:lin ang="0" scaled="0"/>
          </a:gra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8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Lidl Font Pro" panose="02000000000000000000" pitchFamily="2" charset="0"/>
            </a:endParaRPr>
          </a:p>
        </p:txBody>
      </p:sp>
      <p:sp>
        <p:nvSpPr>
          <p:cNvPr id="2" name="Titel 1"/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6311900" y="1556864"/>
            <a:ext cx="5472113" cy="1295400"/>
          </a:xfrm>
        </p:spPr>
        <p:txBody>
          <a:bodyPr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3600" b="1" i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/>
              <a:t>Vielen Dank</a:t>
            </a:r>
          </a:p>
        </p:txBody>
      </p:sp>
      <p:sp>
        <p:nvSpPr>
          <p:cNvPr id="3" name="Untertitel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6311900" y="2925016"/>
            <a:ext cx="5472113" cy="1512168"/>
          </a:xfrm>
        </p:spPr>
        <p:txBody>
          <a:bodyPr tIns="180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i="0">
                <a:solidFill>
                  <a:schemeClr val="accent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/>
              <a:t>Vorname Nachname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endParaRPr lang="de-DE"/>
          </a:p>
        </p:txBody>
      </p:sp>
      <p:sp>
        <p:nvSpPr>
          <p:cNvPr id="25" name="Textplatzhalter 4">
            <a:extLst>
              <a:ext uri="{FF2B5EF4-FFF2-40B4-BE49-F238E27FC236}">
                <a16:creationId xmlns:a16="http://schemas.microsoft.com/office/drawing/2014/main" id="{FE0E7FF9-D812-4D7F-8F85-17DEDFD8ABA4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 bwMode="gray">
          <a:xfrm>
            <a:off x="6311978" y="4437184"/>
            <a:ext cx="5470768" cy="648000"/>
          </a:xfrm>
        </p:spPr>
        <p:txBody>
          <a:bodyPr anchor="t" anchorCtr="0"/>
          <a:lstStyle>
            <a:lvl1pPr>
              <a:lnSpc>
                <a:spcPct val="100000"/>
              </a:lnSpc>
              <a:spcAft>
                <a:spcPts val="200"/>
              </a:spcAft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 sz="14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 sz="14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 sz="1400" b="0"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 sz="1400" b="0">
                <a:solidFill>
                  <a:schemeClr val="tx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 sz="1400" b="0">
                <a:solidFill>
                  <a:schemeClr val="tx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 sz="1400" b="0"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 sz="1400" b="0">
                <a:solidFill>
                  <a:schemeClr val="tx1"/>
                </a:solidFill>
              </a:defRPr>
            </a:lvl9pPr>
          </a:lstStyle>
          <a:p>
            <a:pPr>
              <a:spcAft>
                <a:spcPts val="200"/>
              </a:spcAft>
            </a:pPr>
            <a:r>
              <a:rPr lang="de-DE">
                <a:latin typeface="+mn-lt"/>
              </a:rPr>
              <a:t>Tel</a:t>
            </a:r>
            <a:br>
              <a:rPr lang="de-DE">
                <a:latin typeface="+mn-lt"/>
              </a:rPr>
            </a:br>
            <a:r>
              <a:rPr lang="de-DE">
                <a:latin typeface="+mn-lt"/>
              </a:rPr>
              <a:t>E-Mail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0130BC9D-5AB3-46F1-A92A-270435D0A2C8}"/>
              </a:ext>
            </a:extLst>
          </p:cNvPr>
          <p:cNvSpPr/>
          <p:nvPr userDrawn="1"/>
        </p:nvSpPr>
        <p:spPr bwMode="gray">
          <a:xfrm>
            <a:off x="552004" y="0"/>
            <a:ext cx="1511548" cy="198884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dirty="0">
              <a:solidFill>
                <a:schemeClr val="tx1"/>
              </a:solidFill>
            </a:endParaRP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00E222BB-9D88-48C3-8F9E-877B60E0501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51880" y="128946"/>
            <a:ext cx="1512000" cy="18598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21762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7" userDrawn="1">
          <p15:clr>
            <a:srgbClr val="F26B43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BB64F6A-29EE-4F10-83C2-C68A76477B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|  01.05.2021  |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30E21EA-4D0C-4E4A-971B-90A31A3027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Schwarz Folienbibliothek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DC512E-2A30-4C64-BA6C-F9BB8810EC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8CFDFCC3-8B40-4EE5-B231-005F2F1C6A68}" type="slidenum">
              <a:rPr lang="de-DE" smtClean="0"/>
              <a:pPr algn="r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6487560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ihandform: Form 8">
            <a:extLst>
              <a:ext uri="{FF2B5EF4-FFF2-40B4-BE49-F238E27FC236}">
                <a16:creationId xmlns:a16="http://schemas.microsoft.com/office/drawing/2014/main" id="{D476F017-D3CF-4732-8BCD-ABF48C8B8A90}"/>
              </a:ext>
            </a:extLst>
          </p:cNvPr>
          <p:cNvSpPr/>
          <p:nvPr userDrawn="1"/>
        </p:nvSpPr>
        <p:spPr bwMode="gray">
          <a:xfrm>
            <a:off x="-1" y="0"/>
            <a:ext cx="12192001" cy="6858000"/>
          </a:xfrm>
          <a:custGeom>
            <a:avLst/>
            <a:gdLst>
              <a:gd name="connsiteX0" fmla="*/ 108001 w 12084000"/>
              <a:gd name="connsiteY0" fmla="*/ 0 h 6642000"/>
              <a:gd name="connsiteX1" fmla="*/ 12084000 w 12084000"/>
              <a:gd name="connsiteY1" fmla="*/ 0 h 6642000"/>
              <a:gd name="connsiteX2" fmla="*/ 12084000 w 12084000"/>
              <a:gd name="connsiteY2" fmla="*/ 6642000 h 6642000"/>
              <a:gd name="connsiteX3" fmla="*/ 108001 w 12084000"/>
              <a:gd name="connsiteY3" fmla="*/ 6642000 h 6642000"/>
              <a:gd name="connsiteX4" fmla="*/ 0 w 12084000"/>
              <a:gd name="connsiteY4" fmla="*/ 0 h 6642000"/>
              <a:gd name="connsiteX5" fmla="*/ 1 w 12084000"/>
              <a:gd name="connsiteY5" fmla="*/ 0 h 6642000"/>
              <a:gd name="connsiteX6" fmla="*/ 1 w 12084000"/>
              <a:gd name="connsiteY6" fmla="*/ 6642000 h 6642000"/>
              <a:gd name="connsiteX7" fmla="*/ 0 w 12084000"/>
              <a:gd name="connsiteY7" fmla="*/ 6642000 h 6642000"/>
              <a:gd name="connsiteX0" fmla="*/ 108001 w 12084000"/>
              <a:gd name="connsiteY0" fmla="*/ 0 h 6642000"/>
              <a:gd name="connsiteX1" fmla="*/ 12084000 w 12084000"/>
              <a:gd name="connsiteY1" fmla="*/ 0 h 6642000"/>
              <a:gd name="connsiteX2" fmla="*/ 12084000 w 12084000"/>
              <a:gd name="connsiteY2" fmla="*/ 6642000 h 6642000"/>
              <a:gd name="connsiteX3" fmla="*/ 108001 w 12084000"/>
              <a:gd name="connsiteY3" fmla="*/ 6642000 h 6642000"/>
              <a:gd name="connsiteX4" fmla="*/ 108001 w 12084000"/>
              <a:gd name="connsiteY4" fmla="*/ 0 h 6642000"/>
              <a:gd name="connsiteX5" fmla="*/ 0 w 12084000"/>
              <a:gd name="connsiteY5" fmla="*/ 6642000 h 6642000"/>
              <a:gd name="connsiteX6" fmla="*/ 1 w 12084000"/>
              <a:gd name="connsiteY6" fmla="*/ 0 h 6642000"/>
              <a:gd name="connsiteX7" fmla="*/ 1 w 12084000"/>
              <a:gd name="connsiteY7" fmla="*/ 6642000 h 6642000"/>
              <a:gd name="connsiteX8" fmla="*/ 0 w 12084000"/>
              <a:gd name="connsiteY8" fmla="*/ 6642000 h 6642000"/>
              <a:gd name="connsiteX0" fmla="*/ 108001 w 12084000"/>
              <a:gd name="connsiteY0" fmla="*/ 0 h 6642000"/>
              <a:gd name="connsiteX1" fmla="*/ 12084000 w 12084000"/>
              <a:gd name="connsiteY1" fmla="*/ 0 h 6642000"/>
              <a:gd name="connsiteX2" fmla="*/ 12084000 w 12084000"/>
              <a:gd name="connsiteY2" fmla="*/ 6642000 h 6642000"/>
              <a:gd name="connsiteX3" fmla="*/ 108001 w 12084000"/>
              <a:gd name="connsiteY3" fmla="*/ 6642000 h 6642000"/>
              <a:gd name="connsiteX4" fmla="*/ 108001 w 12084000"/>
              <a:gd name="connsiteY4" fmla="*/ 0 h 6642000"/>
              <a:gd name="connsiteX5" fmla="*/ 0 w 12084000"/>
              <a:gd name="connsiteY5" fmla="*/ 6642000 h 6642000"/>
              <a:gd name="connsiteX6" fmla="*/ 1 w 12084000"/>
              <a:gd name="connsiteY6" fmla="*/ 6642000 h 6642000"/>
              <a:gd name="connsiteX7" fmla="*/ 0 w 12084000"/>
              <a:gd name="connsiteY7" fmla="*/ 6642000 h 6642000"/>
              <a:gd name="connsiteX0" fmla="*/ 0 w 11975999"/>
              <a:gd name="connsiteY0" fmla="*/ 0 h 6642000"/>
              <a:gd name="connsiteX1" fmla="*/ 11975999 w 11975999"/>
              <a:gd name="connsiteY1" fmla="*/ 0 h 6642000"/>
              <a:gd name="connsiteX2" fmla="*/ 11975999 w 11975999"/>
              <a:gd name="connsiteY2" fmla="*/ 6642000 h 6642000"/>
              <a:gd name="connsiteX3" fmla="*/ 0 w 11975999"/>
              <a:gd name="connsiteY3" fmla="*/ 6642000 h 6642000"/>
              <a:gd name="connsiteX4" fmla="*/ 0 w 11975999"/>
              <a:gd name="connsiteY4" fmla="*/ 0 h 664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75999" h="6642000">
                <a:moveTo>
                  <a:pt x="0" y="0"/>
                </a:moveTo>
                <a:lnTo>
                  <a:pt x="11975999" y="0"/>
                </a:lnTo>
                <a:lnTo>
                  <a:pt x="11975999" y="6642000"/>
                </a:lnTo>
                <a:lnTo>
                  <a:pt x="0" y="6642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600" dirty="0">
              <a:solidFill>
                <a:schemeClr val="bg1"/>
              </a:solidFill>
            </a:endParaRPr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AB57F3AF-8A47-4E56-8112-6D0A5F1E0DA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880100" y="0"/>
            <a:ext cx="6311900" cy="6858000"/>
          </a:xfrm>
          <a:custGeom>
            <a:avLst/>
            <a:gdLst>
              <a:gd name="connsiteX0" fmla="*/ 0 w 6311900"/>
              <a:gd name="connsiteY0" fmla="*/ 0 h 6858000"/>
              <a:gd name="connsiteX1" fmla="*/ 6311900 w 6311900"/>
              <a:gd name="connsiteY1" fmla="*/ 0 h 6858000"/>
              <a:gd name="connsiteX2" fmla="*/ 6311900 w 6311900"/>
              <a:gd name="connsiteY2" fmla="*/ 6858000 h 6858000"/>
              <a:gd name="connsiteX3" fmla="*/ 0 w 6311900"/>
              <a:gd name="connsiteY3" fmla="*/ 6858000 h 6858000"/>
              <a:gd name="connsiteX4" fmla="*/ 0 w 6311900"/>
              <a:gd name="connsiteY4" fmla="*/ 6857746 h 6858000"/>
              <a:gd name="connsiteX5" fmla="*/ 1668684 w 6311900"/>
              <a:gd name="connsiteY5" fmla="*/ 3429000 h 6858000"/>
              <a:gd name="connsiteX6" fmla="*/ 0 w 6311900"/>
              <a:gd name="connsiteY6" fmla="*/ 25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311900" h="6858000">
                <a:moveTo>
                  <a:pt x="0" y="0"/>
                </a:moveTo>
                <a:lnTo>
                  <a:pt x="6311900" y="0"/>
                </a:lnTo>
                <a:lnTo>
                  <a:pt x="6311900" y="6858000"/>
                </a:lnTo>
                <a:lnTo>
                  <a:pt x="0" y="6858000"/>
                </a:lnTo>
                <a:lnTo>
                  <a:pt x="0" y="6857746"/>
                </a:lnTo>
                <a:lnTo>
                  <a:pt x="1668684" y="3429000"/>
                </a:lnTo>
                <a:lnTo>
                  <a:pt x="0" y="253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>
              <a:defRPr/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551872" y="2205410"/>
            <a:ext cx="5760044" cy="1656000"/>
          </a:xfrm>
        </p:spPr>
        <p:txBody>
          <a:bodyPr anchor="b"/>
          <a:lstStyle>
            <a:lvl1pPr algn="l">
              <a:lnSpc>
                <a:spcPct val="90000"/>
              </a:lnSpc>
              <a:spcBef>
                <a:spcPts val="0"/>
              </a:spcBef>
              <a:defRPr sz="3600" b="1" i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/>
              <a:t>Titel der Präsentation</a:t>
            </a:r>
            <a:br>
              <a:rPr lang="de-DE"/>
            </a:br>
            <a:r>
              <a:rPr lang="de-DE"/>
              <a:t>(in 1-2 Zeilen)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51252" y="4005064"/>
            <a:ext cx="5760648" cy="72000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de-DE"/>
              <a:t>Bereichsbezeichnung</a:t>
            </a:r>
            <a:br>
              <a:rPr lang="de-DE"/>
            </a:br>
            <a:r>
              <a:rPr lang="de-DE"/>
              <a:t>Vorname, Name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52001" y="4869160"/>
            <a:ext cx="5759916" cy="360040"/>
          </a:xfrm>
        </p:spPr>
        <p:txBody>
          <a:bodyPr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/>
              <a:t>Ort, </a:t>
            </a:r>
            <a:r>
              <a:rPr lang="de-DE" err="1"/>
              <a:t>xx.Monat.xxxx</a:t>
            </a:r>
            <a:endParaRPr lang="de-DE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84ACD989-A11D-4AB5-95DD-F68E4B010992}"/>
              </a:ext>
            </a:extLst>
          </p:cNvPr>
          <p:cNvSpPr/>
          <p:nvPr userDrawn="1"/>
        </p:nvSpPr>
        <p:spPr bwMode="gray">
          <a:xfrm>
            <a:off x="551872" y="0"/>
            <a:ext cx="1511548" cy="198884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dirty="0">
              <a:solidFill>
                <a:schemeClr val="tx1"/>
              </a:solidFill>
            </a:endParaRP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EA96EF7F-F825-44DA-B757-A195D602E43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1880" y="128946"/>
            <a:ext cx="1512000" cy="18598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1462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7" userDrawn="1">
          <p15:clr>
            <a:srgbClr val="F26B43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ein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feil: Chevron 2">
            <a:extLst>
              <a:ext uri="{FF2B5EF4-FFF2-40B4-BE49-F238E27FC236}">
                <a16:creationId xmlns:a16="http://schemas.microsoft.com/office/drawing/2014/main" id="{1CB1665C-FC31-4FE9-BD0B-EE368D0ECF53}"/>
              </a:ext>
            </a:extLst>
          </p:cNvPr>
          <p:cNvSpPr>
            <a:spLocks noChangeAspect="1"/>
          </p:cNvSpPr>
          <p:nvPr userDrawn="1"/>
        </p:nvSpPr>
        <p:spPr bwMode="gray">
          <a:xfrm>
            <a:off x="407368" y="1233338"/>
            <a:ext cx="129556" cy="324000"/>
          </a:xfrm>
          <a:prstGeom prst="chevron">
            <a:avLst>
              <a:gd name="adj" fmla="val 59939"/>
            </a:avLst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 dirty="0">
              <a:solidFill>
                <a:schemeClr val="bg1"/>
              </a:solidFill>
            </a:endParaRP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22D10AAE-E753-4D86-8315-2C9BB6BF66E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3359150" y="2348880"/>
            <a:ext cx="8424863" cy="3672507"/>
          </a:xfrm>
        </p:spPr>
        <p:txBody>
          <a:bodyPr/>
          <a:lstStyle>
            <a:lvl1pPr marL="540000" indent="-540000" defTabSz="539750">
              <a:spcBef>
                <a:spcPts val="2000"/>
              </a:spcBef>
              <a:spcAft>
                <a:spcPts val="400"/>
              </a:spcAft>
              <a:buFont typeface="+mj-lt"/>
              <a:buNone/>
              <a:tabLst>
                <a:tab pos="6275388" algn="l"/>
                <a:tab pos="8432800" algn="r"/>
              </a:tabLst>
              <a:defRPr sz="2000" b="0">
                <a:solidFill>
                  <a:schemeClr val="tx1"/>
                </a:solidFill>
                <a:latin typeface="+mj-lt"/>
              </a:defRPr>
            </a:lvl1pPr>
            <a:lvl2pPr marL="533400" indent="0" defTabSz="539750">
              <a:spcBef>
                <a:spcPts val="0"/>
              </a:spcBef>
              <a:spcAft>
                <a:spcPts val="0"/>
              </a:spcAft>
              <a:buFont typeface="+mj-lt"/>
              <a:buNone/>
              <a:tabLst>
                <a:tab pos="6103938" algn="l"/>
              </a:tabLst>
              <a:defRPr sz="1400">
                <a:solidFill>
                  <a:schemeClr val="tx1"/>
                </a:solidFill>
              </a:defRPr>
            </a:lvl2pPr>
            <a:lvl3pPr marL="533400" indent="0" defTabSz="539750">
              <a:spcBef>
                <a:spcPts val="0"/>
              </a:spcBef>
              <a:spcAft>
                <a:spcPts val="0"/>
              </a:spcAft>
              <a:buFont typeface="+mj-lt"/>
              <a:buNone/>
              <a:tabLst>
                <a:tab pos="6103938" algn="l"/>
              </a:tabLst>
              <a:defRPr sz="1400">
                <a:solidFill>
                  <a:schemeClr val="tx1"/>
                </a:solidFill>
              </a:defRPr>
            </a:lvl3pPr>
            <a:lvl4pPr marL="533400" indent="0" defTabSz="539750">
              <a:spcBef>
                <a:spcPts val="0"/>
              </a:spcBef>
              <a:spcAft>
                <a:spcPts val="0"/>
              </a:spcAft>
              <a:buFont typeface="+mj-lt"/>
              <a:buNone/>
              <a:tabLst>
                <a:tab pos="6103938" algn="l"/>
              </a:tabLst>
              <a:defRPr sz="1400">
                <a:solidFill>
                  <a:schemeClr val="tx1"/>
                </a:solidFill>
              </a:defRPr>
            </a:lvl4pPr>
            <a:lvl5pPr marL="533400" indent="0" defTabSz="539750">
              <a:spcBef>
                <a:spcPts val="0"/>
              </a:spcBef>
              <a:spcAft>
                <a:spcPts val="0"/>
              </a:spcAft>
              <a:buFont typeface="+mj-lt"/>
              <a:buNone/>
              <a:tabLst>
                <a:tab pos="6103938" algn="l"/>
              </a:tabLst>
              <a:defRPr sz="1400">
                <a:solidFill>
                  <a:schemeClr val="tx1"/>
                </a:solidFill>
              </a:defRPr>
            </a:lvl5pPr>
            <a:lvl6pPr marL="533400" indent="0" defTabSz="539750">
              <a:spcBef>
                <a:spcPts val="0"/>
              </a:spcBef>
              <a:spcAft>
                <a:spcPts val="0"/>
              </a:spcAft>
              <a:buFont typeface="+mj-lt"/>
              <a:buNone/>
              <a:tabLst>
                <a:tab pos="6103938" algn="l"/>
              </a:tabLst>
              <a:defRPr sz="1400">
                <a:solidFill>
                  <a:schemeClr val="tx1"/>
                </a:solidFill>
              </a:defRPr>
            </a:lvl6pPr>
            <a:lvl7pPr marL="533400" indent="0" defTabSz="539750">
              <a:spcBef>
                <a:spcPts val="0"/>
              </a:spcBef>
              <a:spcAft>
                <a:spcPts val="0"/>
              </a:spcAft>
              <a:buFont typeface="+mj-lt"/>
              <a:buNone/>
              <a:tabLst>
                <a:tab pos="6103938" algn="l"/>
              </a:tabLst>
              <a:defRPr sz="1400">
                <a:solidFill>
                  <a:schemeClr val="tx1"/>
                </a:solidFill>
              </a:defRPr>
            </a:lvl7pPr>
            <a:lvl8pPr marL="533400" indent="0" defTabSz="539750">
              <a:spcBef>
                <a:spcPts val="0"/>
              </a:spcBef>
              <a:spcAft>
                <a:spcPts val="0"/>
              </a:spcAft>
              <a:buFont typeface="+mj-lt"/>
              <a:buNone/>
              <a:tabLst>
                <a:tab pos="6103938" algn="l"/>
              </a:tabLst>
              <a:defRPr sz="1400">
                <a:solidFill>
                  <a:schemeClr val="tx1"/>
                </a:solidFill>
              </a:defRPr>
            </a:lvl8pPr>
            <a:lvl9pPr marL="533400" indent="0" defTabSz="539750">
              <a:spcBef>
                <a:spcPts val="0"/>
              </a:spcBef>
              <a:spcAft>
                <a:spcPts val="0"/>
              </a:spcAft>
              <a:buFont typeface="+mj-lt"/>
              <a:buNone/>
              <a:tabLst>
                <a:tab pos="6103938" algn="l"/>
              </a:tabLst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Nutzen Sie die Buttons „Listenebene erhöhen/verringern“ auf dem Register Start, um zwischen den eingerichteten Textebenen zu wechseln. Text durch Klicken bearbeiten.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6165328"/>
            <a:ext cx="11376000" cy="216000"/>
          </a:xfrm>
          <a:ln>
            <a:solidFill>
              <a:schemeClr val="bg1">
                <a:alpha val="0"/>
              </a:schemeClr>
            </a:solidFill>
          </a:ln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bg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bg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bg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3EBDBE0F-F52C-4A65-BFDE-28D54BBC017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716756" y="1052736"/>
            <a:ext cx="11067257" cy="648072"/>
          </a:xfrm>
          <a:prstGeom prst="rect">
            <a:avLst/>
          </a:prstGeom>
        </p:spPr>
        <p:txBody>
          <a:bodyPr vert="horz" lIns="0" tIns="54000" rIns="0" bIns="0" rtlCol="0" anchor="ctr" anchorCtr="0">
            <a:noAutofit/>
          </a:bodyPr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de-DE"/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ED9C4342-429C-4718-91C2-3FD1BD4A9A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2" y="404696"/>
            <a:ext cx="11376000" cy="288000"/>
          </a:xfrm>
          <a:ln>
            <a:solidFill>
              <a:schemeClr val="bg1">
                <a:alpha val="0"/>
              </a:schemeClr>
            </a:solidFill>
          </a:ln>
        </p:spPr>
        <p:txBody>
          <a:bodyPr t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D7F6CCC-2667-4912-9F94-E258C8E1B1C9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343472" y="6381328"/>
            <a:ext cx="766235" cy="216024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|  01.05.2021  |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5C95B215-5D13-4A67-9CE1-31CD1D906FA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dirty="0"/>
              <a:t>Schwarz Folienbibliothek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86A57A44-22CB-466F-B2B3-6C56344A5C6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r"/>
            <a:fld id="{8CFDFCC3-8B40-4EE5-B231-005F2F1C6A68}" type="slidenum">
              <a:rPr lang="de-DE" smtClean="0"/>
              <a:pPr algn="r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18915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22D10AAE-E753-4D86-8315-2C9BB6BF66E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3359150" y="2348880"/>
            <a:ext cx="8424863" cy="3672507"/>
          </a:xfrm>
        </p:spPr>
        <p:txBody>
          <a:bodyPr numCol="2" spcCol="108000"/>
          <a:lstStyle>
            <a:lvl1pPr marL="540000" indent="-540000" defTabSz="539750">
              <a:spcBef>
                <a:spcPts val="2000"/>
              </a:spcBef>
              <a:spcAft>
                <a:spcPts val="400"/>
              </a:spcAft>
              <a:buFont typeface="+mj-lt"/>
              <a:buNone/>
              <a:tabLst/>
              <a:defRPr sz="2000" b="0">
                <a:solidFill>
                  <a:schemeClr val="tx1"/>
                </a:solidFill>
                <a:latin typeface="+mj-lt"/>
              </a:defRPr>
            </a:lvl1pPr>
            <a:lvl2pPr marL="533400" indent="3175" defTabSz="53340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400">
                <a:solidFill>
                  <a:schemeClr val="tx1"/>
                </a:solidFill>
              </a:defRPr>
            </a:lvl2pPr>
            <a:lvl3pPr marL="533400" indent="3175" defTabSz="53340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400">
                <a:solidFill>
                  <a:schemeClr val="tx1"/>
                </a:solidFill>
              </a:defRPr>
            </a:lvl3pPr>
            <a:lvl4pPr marL="533400" indent="3175" defTabSz="53340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400">
                <a:solidFill>
                  <a:schemeClr val="tx1"/>
                </a:solidFill>
              </a:defRPr>
            </a:lvl4pPr>
            <a:lvl5pPr marL="533400" indent="3175" defTabSz="53340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400">
                <a:solidFill>
                  <a:schemeClr val="tx1"/>
                </a:solidFill>
              </a:defRPr>
            </a:lvl5pPr>
            <a:lvl6pPr marL="533400" indent="3175" defTabSz="53340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400">
                <a:solidFill>
                  <a:schemeClr val="tx1"/>
                </a:solidFill>
              </a:defRPr>
            </a:lvl6pPr>
            <a:lvl7pPr marL="533400" indent="3175" defTabSz="53340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400">
                <a:solidFill>
                  <a:schemeClr val="tx1"/>
                </a:solidFill>
              </a:defRPr>
            </a:lvl7pPr>
            <a:lvl8pPr marL="533400" indent="3175" defTabSz="53340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400">
                <a:solidFill>
                  <a:schemeClr val="tx1"/>
                </a:solidFill>
              </a:defRPr>
            </a:lvl8pPr>
            <a:lvl9pPr marL="533400" indent="3175" defTabSz="53340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Nutzen Sie die Buttons „Listenebene erhöhen/</a:t>
            </a:r>
            <a:br>
              <a:rPr lang="de-DE"/>
            </a:br>
            <a:r>
              <a:rPr lang="de-DE"/>
              <a:t>verringern“ auf dem Register Start, um zwischen den eingerichteten Textebenen zu wechseln. Text durch Klicken bearbeiten.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6165328"/>
            <a:ext cx="11376000" cy="216000"/>
          </a:xfrm>
          <a:ln>
            <a:solidFill>
              <a:schemeClr val="tx1">
                <a:alpha val="0"/>
              </a:schemeClr>
            </a:solidFill>
          </a:ln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3EBDBE0F-F52C-4A65-BFDE-28D54BBC017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716400" y="1052736"/>
            <a:ext cx="11067613" cy="648072"/>
          </a:xfrm>
          <a:prstGeom prst="rect">
            <a:avLst/>
          </a:prstGeom>
        </p:spPr>
        <p:txBody>
          <a:bodyPr vert="horz" lIns="0" tIns="54000" rIns="0" bIns="0" rtlCol="0" anchor="ctr" anchorCtr="0">
            <a:noAutofit/>
          </a:bodyPr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de-DE"/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ED9C4342-429C-4718-91C2-3FD1BD4A9A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2" y="404696"/>
            <a:ext cx="11376000" cy="288000"/>
          </a:xfrm>
          <a:ln>
            <a:solidFill>
              <a:schemeClr val="tx1">
                <a:alpha val="0"/>
              </a:schemeClr>
            </a:solidFill>
          </a:ln>
        </p:spPr>
        <p:txBody>
          <a:bodyPr t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53F6CE1-3A9B-4AAB-AE7F-185A4F58A2B9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>
          <a:xfrm>
            <a:off x="1343472" y="6381328"/>
            <a:ext cx="766235" cy="216024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|  01.05.2021  |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1996E454-4492-407E-8F8C-2BA1EB5411E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de-DE" dirty="0"/>
              <a:t>Schwarz Folienbibliothek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D5088DF-08B6-4780-8373-7F9E0224DA5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8CFDFCC3-8B40-4EE5-B231-005F2F1C6A68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Pfeil: Chevron 10">
            <a:extLst>
              <a:ext uri="{FF2B5EF4-FFF2-40B4-BE49-F238E27FC236}">
                <a16:creationId xmlns:a16="http://schemas.microsoft.com/office/drawing/2014/main" id="{5C24773F-BDC0-46FA-982D-8A30742BC53A}"/>
              </a:ext>
            </a:extLst>
          </p:cNvPr>
          <p:cNvSpPr>
            <a:spLocks noChangeAspect="1"/>
          </p:cNvSpPr>
          <p:nvPr userDrawn="1"/>
        </p:nvSpPr>
        <p:spPr bwMode="gray">
          <a:xfrm>
            <a:off x="407368" y="1233338"/>
            <a:ext cx="129556" cy="324000"/>
          </a:xfrm>
          <a:prstGeom prst="chevron">
            <a:avLst>
              <a:gd name="adj" fmla="val 59939"/>
            </a:avLst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4310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ihandform: Form 3">
            <a:extLst>
              <a:ext uri="{FF2B5EF4-FFF2-40B4-BE49-F238E27FC236}">
                <a16:creationId xmlns:a16="http://schemas.microsoft.com/office/drawing/2014/main" id="{782FAB1B-CF5E-4810-A4B4-F7375FEE8AC9}"/>
              </a:ext>
            </a:extLst>
          </p:cNvPr>
          <p:cNvSpPr/>
          <p:nvPr userDrawn="1"/>
        </p:nvSpPr>
        <p:spPr bwMode="gray">
          <a:xfrm>
            <a:off x="1" y="0"/>
            <a:ext cx="12192000" cy="6858000"/>
          </a:xfrm>
          <a:custGeom>
            <a:avLst/>
            <a:gdLst>
              <a:gd name="connsiteX0" fmla="*/ 108001 w 12084000"/>
              <a:gd name="connsiteY0" fmla="*/ 0 h 6642000"/>
              <a:gd name="connsiteX1" fmla="*/ 12084000 w 12084000"/>
              <a:gd name="connsiteY1" fmla="*/ 0 h 6642000"/>
              <a:gd name="connsiteX2" fmla="*/ 12084000 w 12084000"/>
              <a:gd name="connsiteY2" fmla="*/ 6642000 h 6642000"/>
              <a:gd name="connsiteX3" fmla="*/ 108001 w 12084000"/>
              <a:gd name="connsiteY3" fmla="*/ 6642000 h 6642000"/>
              <a:gd name="connsiteX4" fmla="*/ 0 w 12084000"/>
              <a:gd name="connsiteY4" fmla="*/ 0 h 6642000"/>
              <a:gd name="connsiteX5" fmla="*/ 1 w 12084000"/>
              <a:gd name="connsiteY5" fmla="*/ 0 h 6642000"/>
              <a:gd name="connsiteX6" fmla="*/ 1 w 12084000"/>
              <a:gd name="connsiteY6" fmla="*/ 6642000 h 6642000"/>
              <a:gd name="connsiteX7" fmla="*/ 0 w 12084000"/>
              <a:gd name="connsiteY7" fmla="*/ 6642000 h 6642000"/>
              <a:gd name="connsiteX0" fmla="*/ 108001 w 12084000"/>
              <a:gd name="connsiteY0" fmla="*/ 0 h 6642000"/>
              <a:gd name="connsiteX1" fmla="*/ 12084000 w 12084000"/>
              <a:gd name="connsiteY1" fmla="*/ 0 h 6642000"/>
              <a:gd name="connsiteX2" fmla="*/ 12084000 w 12084000"/>
              <a:gd name="connsiteY2" fmla="*/ 6642000 h 6642000"/>
              <a:gd name="connsiteX3" fmla="*/ 108001 w 12084000"/>
              <a:gd name="connsiteY3" fmla="*/ 6642000 h 6642000"/>
              <a:gd name="connsiteX4" fmla="*/ 108001 w 12084000"/>
              <a:gd name="connsiteY4" fmla="*/ 0 h 6642000"/>
              <a:gd name="connsiteX5" fmla="*/ 0 w 12084000"/>
              <a:gd name="connsiteY5" fmla="*/ 6642000 h 6642000"/>
              <a:gd name="connsiteX6" fmla="*/ 1 w 12084000"/>
              <a:gd name="connsiteY6" fmla="*/ 0 h 6642000"/>
              <a:gd name="connsiteX7" fmla="*/ 1 w 12084000"/>
              <a:gd name="connsiteY7" fmla="*/ 6642000 h 6642000"/>
              <a:gd name="connsiteX8" fmla="*/ 0 w 12084000"/>
              <a:gd name="connsiteY8" fmla="*/ 6642000 h 6642000"/>
              <a:gd name="connsiteX0" fmla="*/ 108001 w 12084000"/>
              <a:gd name="connsiteY0" fmla="*/ 0 h 6642000"/>
              <a:gd name="connsiteX1" fmla="*/ 12084000 w 12084000"/>
              <a:gd name="connsiteY1" fmla="*/ 0 h 6642000"/>
              <a:gd name="connsiteX2" fmla="*/ 12084000 w 12084000"/>
              <a:gd name="connsiteY2" fmla="*/ 6642000 h 6642000"/>
              <a:gd name="connsiteX3" fmla="*/ 108001 w 12084000"/>
              <a:gd name="connsiteY3" fmla="*/ 6642000 h 6642000"/>
              <a:gd name="connsiteX4" fmla="*/ 108001 w 12084000"/>
              <a:gd name="connsiteY4" fmla="*/ 0 h 6642000"/>
              <a:gd name="connsiteX5" fmla="*/ 0 w 12084000"/>
              <a:gd name="connsiteY5" fmla="*/ 6642000 h 6642000"/>
              <a:gd name="connsiteX6" fmla="*/ 1 w 12084000"/>
              <a:gd name="connsiteY6" fmla="*/ 6642000 h 6642000"/>
              <a:gd name="connsiteX7" fmla="*/ 0 w 12084000"/>
              <a:gd name="connsiteY7" fmla="*/ 6642000 h 6642000"/>
              <a:gd name="connsiteX0" fmla="*/ 0 w 11975999"/>
              <a:gd name="connsiteY0" fmla="*/ 0 h 6642000"/>
              <a:gd name="connsiteX1" fmla="*/ 11975999 w 11975999"/>
              <a:gd name="connsiteY1" fmla="*/ 0 h 6642000"/>
              <a:gd name="connsiteX2" fmla="*/ 11975999 w 11975999"/>
              <a:gd name="connsiteY2" fmla="*/ 6642000 h 6642000"/>
              <a:gd name="connsiteX3" fmla="*/ 0 w 11975999"/>
              <a:gd name="connsiteY3" fmla="*/ 6642000 h 6642000"/>
              <a:gd name="connsiteX4" fmla="*/ 0 w 11975999"/>
              <a:gd name="connsiteY4" fmla="*/ 0 h 664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75999" h="6642000">
                <a:moveTo>
                  <a:pt x="0" y="0"/>
                </a:moveTo>
                <a:lnTo>
                  <a:pt x="11975999" y="0"/>
                </a:lnTo>
                <a:lnTo>
                  <a:pt x="11975999" y="6642000"/>
                </a:lnTo>
                <a:lnTo>
                  <a:pt x="0" y="6642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551384" y="2996752"/>
            <a:ext cx="11232629" cy="1441374"/>
          </a:xfrm>
        </p:spPr>
        <p:txBody>
          <a:bodyPr anchor="b"/>
          <a:lstStyle>
            <a:lvl1pPr algn="l">
              <a:lnSpc>
                <a:spcPct val="90000"/>
              </a:lnSpc>
              <a:spcBef>
                <a:spcPts val="0"/>
              </a:spcBef>
              <a:defRPr sz="4800" b="1" i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/>
              <a:t>Aktuelles Kapitel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51384" y="4580928"/>
            <a:ext cx="11232629" cy="1440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2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2000" b="0" i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2000" b="0" i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2000" b="0" i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2000" b="0" i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20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2000" b="0" i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2000" b="0" i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2000" b="0" i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/>
              <a:t>Optionale Einführung in das Kapitel</a:t>
            </a:r>
            <a:br>
              <a:rPr lang="de-DE"/>
            </a:br>
            <a:r>
              <a:rPr lang="de-DE"/>
              <a:t>(in 1-2 Zeilen)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4AA521D0-3978-41EF-8B4B-0C46A2F8955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51384" y="0"/>
            <a:ext cx="2390125" cy="2578922"/>
          </a:xfrm>
          <a:custGeom>
            <a:avLst/>
            <a:gdLst>
              <a:gd name="connsiteX0" fmla="*/ 0 w 2390125"/>
              <a:gd name="connsiteY0" fmla="*/ 0 h 2528916"/>
              <a:gd name="connsiteX1" fmla="*/ 2390125 w 2390125"/>
              <a:gd name="connsiteY1" fmla="*/ 0 h 2528916"/>
              <a:gd name="connsiteX2" fmla="*/ 2390125 w 2390125"/>
              <a:gd name="connsiteY2" fmla="*/ 1994436 h 2528916"/>
              <a:gd name="connsiteX3" fmla="*/ 1195062 w 2390125"/>
              <a:gd name="connsiteY3" fmla="*/ 2528916 h 2528916"/>
              <a:gd name="connsiteX4" fmla="*/ 0 w 2390125"/>
              <a:gd name="connsiteY4" fmla="*/ 1994436 h 2528916"/>
              <a:gd name="connsiteX0" fmla="*/ 0 w 2390125"/>
              <a:gd name="connsiteY0" fmla="*/ 0 h 2578922"/>
              <a:gd name="connsiteX1" fmla="*/ 2390125 w 2390125"/>
              <a:gd name="connsiteY1" fmla="*/ 0 h 2578922"/>
              <a:gd name="connsiteX2" fmla="*/ 2390125 w 2390125"/>
              <a:gd name="connsiteY2" fmla="*/ 1994436 h 2578922"/>
              <a:gd name="connsiteX3" fmla="*/ 1195062 w 2390125"/>
              <a:gd name="connsiteY3" fmla="*/ 2578922 h 2578922"/>
              <a:gd name="connsiteX4" fmla="*/ 0 w 2390125"/>
              <a:gd name="connsiteY4" fmla="*/ 1994436 h 2578922"/>
              <a:gd name="connsiteX5" fmla="*/ 0 w 2390125"/>
              <a:gd name="connsiteY5" fmla="*/ 0 h 2578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390125" h="2578922">
                <a:moveTo>
                  <a:pt x="0" y="0"/>
                </a:moveTo>
                <a:lnTo>
                  <a:pt x="2390125" y="0"/>
                </a:lnTo>
                <a:lnTo>
                  <a:pt x="2390125" y="1994436"/>
                </a:lnTo>
                <a:lnTo>
                  <a:pt x="1195062" y="2578922"/>
                </a:lnTo>
                <a:lnTo>
                  <a:pt x="0" y="199443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</p:spPr>
        <p:txBody>
          <a:bodyPr vert="horz" wrap="square" lIns="0" tIns="0" rIns="0" bIns="288000" rtlCol="0" anchor="ctr" anchorCtr="0">
            <a:noAutofit/>
          </a:bodyPr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lang="de-DE" sz="11000" dirty="0">
                <a:solidFill>
                  <a:schemeClr val="bg1"/>
                </a:solidFill>
              </a:defRPr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1000" b="1">
                <a:solidFill>
                  <a:schemeClr val="bg1"/>
                </a:solidFill>
                <a:latin typeface="+mj-lt"/>
              </a:defRPr>
            </a:lvl2pPr>
            <a:lvl3pPr marL="0" indent="0" algn="ctr">
              <a:spcAft>
                <a:spcPts val="0"/>
              </a:spcAft>
              <a:buNone/>
              <a:defRPr sz="11000" b="1">
                <a:solidFill>
                  <a:schemeClr val="bg1"/>
                </a:solidFill>
                <a:latin typeface="+mj-lt"/>
              </a:defRPr>
            </a:lvl3pPr>
            <a:lvl4pPr marL="0" indent="0" algn="ctr">
              <a:spcAft>
                <a:spcPts val="0"/>
              </a:spcAft>
              <a:buNone/>
              <a:defRPr sz="11000" b="1">
                <a:solidFill>
                  <a:schemeClr val="bg1"/>
                </a:solidFill>
                <a:latin typeface="+mj-lt"/>
              </a:defRPr>
            </a:lvl4pPr>
            <a:lvl5pPr marL="0" indent="0" algn="ctr">
              <a:spcAft>
                <a:spcPts val="0"/>
              </a:spcAft>
              <a:buNone/>
              <a:defRPr sz="11000" b="1">
                <a:solidFill>
                  <a:schemeClr val="bg1"/>
                </a:solidFill>
                <a:latin typeface="+mj-lt"/>
              </a:defRPr>
            </a:lvl5pPr>
            <a:lvl6pPr marL="0" indent="0" algn="ctr">
              <a:spcAft>
                <a:spcPts val="0"/>
              </a:spcAft>
              <a:buNone/>
              <a:defRPr sz="11000" b="1">
                <a:solidFill>
                  <a:schemeClr val="bg1"/>
                </a:solidFill>
                <a:latin typeface="+mj-lt"/>
              </a:defRPr>
            </a:lvl6pPr>
            <a:lvl7pPr marL="0" indent="0" algn="ctr">
              <a:spcAft>
                <a:spcPts val="0"/>
              </a:spcAft>
              <a:buNone/>
              <a:defRPr sz="11000" b="1">
                <a:solidFill>
                  <a:schemeClr val="bg1"/>
                </a:solidFill>
                <a:latin typeface="+mj-lt"/>
              </a:defRPr>
            </a:lvl7pPr>
            <a:lvl8pPr marL="0" indent="0" algn="ctr">
              <a:spcAft>
                <a:spcPts val="0"/>
              </a:spcAft>
              <a:buNone/>
              <a:defRPr sz="11000" b="1">
                <a:solidFill>
                  <a:schemeClr val="bg1"/>
                </a:solidFill>
                <a:latin typeface="+mj-lt"/>
              </a:defRPr>
            </a:lvl8pPr>
            <a:lvl9pPr marL="0" indent="0" algn="ctr">
              <a:spcAft>
                <a:spcPts val="0"/>
              </a:spcAft>
              <a:buNone/>
              <a:defRPr sz="11000" b="1">
                <a:solidFill>
                  <a:schemeClr val="bg1"/>
                </a:solidFill>
                <a:latin typeface="+mj-lt"/>
              </a:defRPr>
            </a:lvl9pPr>
          </a:lstStyle>
          <a:p>
            <a:pPr lvl="0" algn="ctr">
              <a:spcAft>
                <a:spcPts val="0"/>
              </a:spcAft>
            </a:pPr>
            <a:r>
              <a:rPr lang="de-DE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2406043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7" userDrawn="1">
          <p15:clr>
            <a:srgbClr val="F26B43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ihandform: Form 3">
            <a:extLst>
              <a:ext uri="{FF2B5EF4-FFF2-40B4-BE49-F238E27FC236}">
                <a16:creationId xmlns:a16="http://schemas.microsoft.com/office/drawing/2014/main" id="{782FAB1B-CF5E-4810-A4B4-F7375FEE8AC9}"/>
              </a:ext>
            </a:extLst>
          </p:cNvPr>
          <p:cNvSpPr/>
          <p:nvPr userDrawn="1"/>
        </p:nvSpPr>
        <p:spPr bwMode="gray">
          <a:xfrm>
            <a:off x="1" y="0"/>
            <a:ext cx="12191999" cy="6858000"/>
          </a:xfrm>
          <a:custGeom>
            <a:avLst/>
            <a:gdLst>
              <a:gd name="connsiteX0" fmla="*/ 108001 w 12084000"/>
              <a:gd name="connsiteY0" fmla="*/ 0 h 6642000"/>
              <a:gd name="connsiteX1" fmla="*/ 12084000 w 12084000"/>
              <a:gd name="connsiteY1" fmla="*/ 0 h 6642000"/>
              <a:gd name="connsiteX2" fmla="*/ 12084000 w 12084000"/>
              <a:gd name="connsiteY2" fmla="*/ 6642000 h 6642000"/>
              <a:gd name="connsiteX3" fmla="*/ 108001 w 12084000"/>
              <a:gd name="connsiteY3" fmla="*/ 6642000 h 6642000"/>
              <a:gd name="connsiteX4" fmla="*/ 0 w 12084000"/>
              <a:gd name="connsiteY4" fmla="*/ 0 h 6642000"/>
              <a:gd name="connsiteX5" fmla="*/ 1 w 12084000"/>
              <a:gd name="connsiteY5" fmla="*/ 0 h 6642000"/>
              <a:gd name="connsiteX6" fmla="*/ 1 w 12084000"/>
              <a:gd name="connsiteY6" fmla="*/ 6642000 h 6642000"/>
              <a:gd name="connsiteX7" fmla="*/ 0 w 12084000"/>
              <a:gd name="connsiteY7" fmla="*/ 6642000 h 6642000"/>
              <a:gd name="connsiteX0" fmla="*/ 108001 w 12084000"/>
              <a:gd name="connsiteY0" fmla="*/ 0 h 6642000"/>
              <a:gd name="connsiteX1" fmla="*/ 12084000 w 12084000"/>
              <a:gd name="connsiteY1" fmla="*/ 0 h 6642000"/>
              <a:gd name="connsiteX2" fmla="*/ 12084000 w 12084000"/>
              <a:gd name="connsiteY2" fmla="*/ 6642000 h 6642000"/>
              <a:gd name="connsiteX3" fmla="*/ 108001 w 12084000"/>
              <a:gd name="connsiteY3" fmla="*/ 6642000 h 6642000"/>
              <a:gd name="connsiteX4" fmla="*/ 108001 w 12084000"/>
              <a:gd name="connsiteY4" fmla="*/ 0 h 6642000"/>
              <a:gd name="connsiteX5" fmla="*/ 0 w 12084000"/>
              <a:gd name="connsiteY5" fmla="*/ 6642000 h 6642000"/>
              <a:gd name="connsiteX6" fmla="*/ 1 w 12084000"/>
              <a:gd name="connsiteY6" fmla="*/ 0 h 6642000"/>
              <a:gd name="connsiteX7" fmla="*/ 1 w 12084000"/>
              <a:gd name="connsiteY7" fmla="*/ 6642000 h 6642000"/>
              <a:gd name="connsiteX8" fmla="*/ 0 w 12084000"/>
              <a:gd name="connsiteY8" fmla="*/ 6642000 h 6642000"/>
              <a:gd name="connsiteX0" fmla="*/ 108001 w 12084000"/>
              <a:gd name="connsiteY0" fmla="*/ 0 h 6642000"/>
              <a:gd name="connsiteX1" fmla="*/ 12084000 w 12084000"/>
              <a:gd name="connsiteY1" fmla="*/ 0 h 6642000"/>
              <a:gd name="connsiteX2" fmla="*/ 12084000 w 12084000"/>
              <a:gd name="connsiteY2" fmla="*/ 6642000 h 6642000"/>
              <a:gd name="connsiteX3" fmla="*/ 108001 w 12084000"/>
              <a:gd name="connsiteY3" fmla="*/ 6642000 h 6642000"/>
              <a:gd name="connsiteX4" fmla="*/ 108001 w 12084000"/>
              <a:gd name="connsiteY4" fmla="*/ 0 h 6642000"/>
              <a:gd name="connsiteX5" fmla="*/ 0 w 12084000"/>
              <a:gd name="connsiteY5" fmla="*/ 6642000 h 6642000"/>
              <a:gd name="connsiteX6" fmla="*/ 1 w 12084000"/>
              <a:gd name="connsiteY6" fmla="*/ 6642000 h 6642000"/>
              <a:gd name="connsiteX7" fmla="*/ 0 w 12084000"/>
              <a:gd name="connsiteY7" fmla="*/ 6642000 h 6642000"/>
              <a:gd name="connsiteX0" fmla="*/ 0 w 11975999"/>
              <a:gd name="connsiteY0" fmla="*/ 0 h 6642000"/>
              <a:gd name="connsiteX1" fmla="*/ 11975999 w 11975999"/>
              <a:gd name="connsiteY1" fmla="*/ 0 h 6642000"/>
              <a:gd name="connsiteX2" fmla="*/ 11975999 w 11975999"/>
              <a:gd name="connsiteY2" fmla="*/ 6642000 h 6642000"/>
              <a:gd name="connsiteX3" fmla="*/ 0 w 11975999"/>
              <a:gd name="connsiteY3" fmla="*/ 6642000 h 6642000"/>
              <a:gd name="connsiteX4" fmla="*/ 0 w 11975999"/>
              <a:gd name="connsiteY4" fmla="*/ 0 h 664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75999" h="6642000">
                <a:moveTo>
                  <a:pt x="0" y="0"/>
                </a:moveTo>
                <a:lnTo>
                  <a:pt x="11975999" y="0"/>
                </a:lnTo>
                <a:lnTo>
                  <a:pt x="11975999" y="6642000"/>
                </a:lnTo>
                <a:lnTo>
                  <a:pt x="0" y="6642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862EF2F3-AE5D-4BD1-B244-0252E5F5621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6312024" y="0"/>
            <a:ext cx="5879976" cy="6858000"/>
          </a:xfrm>
          <a:solidFill>
            <a:schemeClr val="tx2"/>
          </a:solidFill>
        </p:spPr>
        <p:txBody>
          <a:bodyPr tIns="0" bIns="864000" anchor="ctr"/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551385" y="2997200"/>
            <a:ext cx="5328592" cy="1441026"/>
          </a:xfrm>
        </p:spPr>
        <p:txBody>
          <a:bodyPr anchor="b"/>
          <a:lstStyle>
            <a:lvl1pPr algn="l">
              <a:lnSpc>
                <a:spcPct val="90000"/>
              </a:lnSpc>
              <a:spcBef>
                <a:spcPts val="0"/>
              </a:spcBef>
              <a:defRPr sz="4000" b="1" i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/>
              <a:t>Aktuelles Kapitel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51385" y="4581028"/>
            <a:ext cx="5328592" cy="1440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2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2000" b="0" i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2000" b="0" i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2000" b="0" i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2000" b="0" i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20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2000" b="0" i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2000" b="0" i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2000" b="0" i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/>
              <a:t>Optionale Einführung in das Kapitel</a:t>
            </a:r>
            <a:br>
              <a:rPr lang="de-DE"/>
            </a:br>
            <a:r>
              <a:rPr lang="de-DE"/>
              <a:t>(in 1-2 Zeilen)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4AA521D0-3978-41EF-8B4B-0C46A2F8955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51384" y="0"/>
            <a:ext cx="2390125" cy="2579716"/>
          </a:xfrm>
          <a:custGeom>
            <a:avLst/>
            <a:gdLst>
              <a:gd name="connsiteX0" fmla="*/ 0 w 2390125"/>
              <a:gd name="connsiteY0" fmla="*/ 0 h 2528916"/>
              <a:gd name="connsiteX1" fmla="*/ 2390125 w 2390125"/>
              <a:gd name="connsiteY1" fmla="*/ 0 h 2528916"/>
              <a:gd name="connsiteX2" fmla="*/ 2390125 w 2390125"/>
              <a:gd name="connsiteY2" fmla="*/ 1994436 h 2528916"/>
              <a:gd name="connsiteX3" fmla="*/ 1195062 w 2390125"/>
              <a:gd name="connsiteY3" fmla="*/ 2528916 h 2528916"/>
              <a:gd name="connsiteX4" fmla="*/ 0 w 2390125"/>
              <a:gd name="connsiteY4" fmla="*/ 1994436 h 2528916"/>
              <a:gd name="connsiteX0" fmla="*/ 0 w 2390125"/>
              <a:gd name="connsiteY0" fmla="*/ 0 h 2579716"/>
              <a:gd name="connsiteX1" fmla="*/ 2390125 w 2390125"/>
              <a:gd name="connsiteY1" fmla="*/ 0 h 2579716"/>
              <a:gd name="connsiteX2" fmla="*/ 2390125 w 2390125"/>
              <a:gd name="connsiteY2" fmla="*/ 1994436 h 2579716"/>
              <a:gd name="connsiteX3" fmla="*/ 1191887 w 2390125"/>
              <a:gd name="connsiteY3" fmla="*/ 2579716 h 2579716"/>
              <a:gd name="connsiteX4" fmla="*/ 0 w 2390125"/>
              <a:gd name="connsiteY4" fmla="*/ 1994436 h 2579716"/>
              <a:gd name="connsiteX5" fmla="*/ 0 w 2390125"/>
              <a:gd name="connsiteY5" fmla="*/ 0 h 25797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390125" h="2579716">
                <a:moveTo>
                  <a:pt x="0" y="0"/>
                </a:moveTo>
                <a:lnTo>
                  <a:pt x="2390125" y="0"/>
                </a:lnTo>
                <a:lnTo>
                  <a:pt x="2390125" y="1994436"/>
                </a:lnTo>
                <a:lnTo>
                  <a:pt x="1191887" y="2579716"/>
                </a:lnTo>
                <a:lnTo>
                  <a:pt x="0" y="199443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</p:spPr>
        <p:txBody>
          <a:bodyPr vert="horz" wrap="square" lIns="0" tIns="0" rIns="0" bIns="288000" rtlCol="0" anchor="ctr" anchorCtr="0">
            <a:noAutofit/>
          </a:bodyPr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lang="de-DE" sz="11000" dirty="0">
                <a:solidFill>
                  <a:schemeClr val="bg1"/>
                </a:solidFill>
              </a:defRPr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1000" b="1">
                <a:solidFill>
                  <a:schemeClr val="bg1"/>
                </a:solidFill>
                <a:latin typeface="+mj-lt"/>
              </a:defRPr>
            </a:lvl2pPr>
            <a:lvl3pPr marL="0" indent="0" algn="ctr">
              <a:spcAft>
                <a:spcPts val="0"/>
              </a:spcAft>
              <a:buNone/>
              <a:defRPr sz="11000" b="1">
                <a:solidFill>
                  <a:schemeClr val="bg1"/>
                </a:solidFill>
                <a:latin typeface="+mj-lt"/>
              </a:defRPr>
            </a:lvl3pPr>
            <a:lvl4pPr marL="0" indent="0" algn="ctr">
              <a:spcAft>
                <a:spcPts val="0"/>
              </a:spcAft>
              <a:buNone/>
              <a:defRPr sz="11000" b="1">
                <a:solidFill>
                  <a:schemeClr val="bg1"/>
                </a:solidFill>
                <a:latin typeface="+mj-lt"/>
              </a:defRPr>
            </a:lvl4pPr>
            <a:lvl5pPr marL="0" indent="0" algn="ctr">
              <a:spcAft>
                <a:spcPts val="0"/>
              </a:spcAft>
              <a:buNone/>
              <a:defRPr sz="11000" b="1">
                <a:solidFill>
                  <a:schemeClr val="bg1"/>
                </a:solidFill>
                <a:latin typeface="+mj-lt"/>
              </a:defRPr>
            </a:lvl5pPr>
            <a:lvl6pPr marL="0" indent="0" algn="ctr">
              <a:spcAft>
                <a:spcPts val="0"/>
              </a:spcAft>
              <a:buNone/>
              <a:defRPr sz="11000" b="1">
                <a:solidFill>
                  <a:schemeClr val="bg1"/>
                </a:solidFill>
                <a:latin typeface="+mj-lt"/>
              </a:defRPr>
            </a:lvl6pPr>
            <a:lvl7pPr marL="0" indent="0" algn="ctr">
              <a:spcAft>
                <a:spcPts val="0"/>
              </a:spcAft>
              <a:buNone/>
              <a:defRPr sz="11000" b="1">
                <a:solidFill>
                  <a:schemeClr val="bg1"/>
                </a:solidFill>
                <a:latin typeface="+mj-lt"/>
              </a:defRPr>
            </a:lvl7pPr>
            <a:lvl8pPr marL="0" indent="0" algn="ctr">
              <a:spcAft>
                <a:spcPts val="0"/>
              </a:spcAft>
              <a:buNone/>
              <a:defRPr sz="11000" b="1">
                <a:solidFill>
                  <a:schemeClr val="bg1"/>
                </a:solidFill>
                <a:latin typeface="+mj-lt"/>
              </a:defRPr>
            </a:lvl8pPr>
            <a:lvl9pPr marL="0" indent="0" algn="ctr">
              <a:spcAft>
                <a:spcPts val="0"/>
              </a:spcAft>
              <a:buNone/>
              <a:defRPr sz="11000" b="1">
                <a:solidFill>
                  <a:schemeClr val="bg1"/>
                </a:solidFill>
                <a:latin typeface="+mj-lt"/>
              </a:defRPr>
            </a:lvl9pPr>
          </a:lstStyle>
          <a:p>
            <a:pPr lvl="0" algn="ctr">
              <a:spcAft>
                <a:spcPts val="0"/>
              </a:spcAft>
            </a:pPr>
            <a:r>
              <a:rPr lang="de-DE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42043325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7" userDrawn="1">
          <p15:clr>
            <a:srgbClr val="F26B43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mit Bild (dunke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862EF2F3-AE5D-4BD1-B244-0252E5F5621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1" y="0"/>
            <a:ext cx="12192000" cy="6858000"/>
          </a:xfrm>
          <a:solidFill>
            <a:schemeClr val="tx2"/>
          </a:solidFill>
        </p:spPr>
        <p:txBody>
          <a:bodyPr tIns="0" bIns="864000" anchor="ctr"/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551384" y="2997200"/>
            <a:ext cx="5472113" cy="1441026"/>
          </a:xfrm>
        </p:spPr>
        <p:txBody>
          <a:bodyPr anchor="b"/>
          <a:lstStyle>
            <a:lvl1pPr algn="l">
              <a:lnSpc>
                <a:spcPct val="90000"/>
              </a:lnSpc>
              <a:spcBef>
                <a:spcPts val="0"/>
              </a:spcBef>
              <a:defRPr sz="4000" b="1" i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/>
              <a:t>Aktuelles Kapitel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54378" y="4581028"/>
            <a:ext cx="5468598" cy="1440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2000" b="0" i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2000" b="0" i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2000" b="0" i="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2000" b="0" i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2000" b="0" i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2000" b="0" i="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2000" b="0" i="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2000" b="0" i="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2000" b="0" i="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de-DE"/>
              <a:t>Optionale Einführung in das Kapitel </a:t>
            </a:r>
            <a:br>
              <a:rPr lang="de-DE"/>
            </a:br>
            <a:r>
              <a:rPr lang="de-DE"/>
              <a:t>(in 1-2 Zeilen)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C7DFF6D-4724-4D30-9625-E3982F168F2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51384" y="0"/>
            <a:ext cx="2390125" cy="2579716"/>
          </a:xfrm>
          <a:custGeom>
            <a:avLst/>
            <a:gdLst>
              <a:gd name="connsiteX0" fmla="*/ 0 w 2390125"/>
              <a:gd name="connsiteY0" fmla="*/ 0 h 2528916"/>
              <a:gd name="connsiteX1" fmla="*/ 2390125 w 2390125"/>
              <a:gd name="connsiteY1" fmla="*/ 0 h 2528916"/>
              <a:gd name="connsiteX2" fmla="*/ 2390125 w 2390125"/>
              <a:gd name="connsiteY2" fmla="*/ 1994436 h 2528916"/>
              <a:gd name="connsiteX3" fmla="*/ 1195062 w 2390125"/>
              <a:gd name="connsiteY3" fmla="*/ 2528916 h 2528916"/>
              <a:gd name="connsiteX4" fmla="*/ 0 w 2390125"/>
              <a:gd name="connsiteY4" fmla="*/ 1994436 h 2528916"/>
              <a:gd name="connsiteX0" fmla="*/ 0 w 2390125"/>
              <a:gd name="connsiteY0" fmla="*/ 0 h 2579716"/>
              <a:gd name="connsiteX1" fmla="*/ 2390125 w 2390125"/>
              <a:gd name="connsiteY1" fmla="*/ 0 h 2579716"/>
              <a:gd name="connsiteX2" fmla="*/ 2390125 w 2390125"/>
              <a:gd name="connsiteY2" fmla="*/ 1994436 h 2579716"/>
              <a:gd name="connsiteX3" fmla="*/ 1195062 w 2390125"/>
              <a:gd name="connsiteY3" fmla="*/ 2579716 h 2579716"/>
              <a:gd name="connsiteX4" fmla="*/ 0 w 2390125"/>
              <a:gd name="connsiteY4" fmla="*/ 1994436 h 2579716"/>
              <a:gd name="connsiteX5" fmla="*/ 0 w 2390125"/>
              <a:gd name="connsiteY5" fmla="*/ 0 h 25797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390125" h="2579716">
                <a:moveTo>
                  <a:pt x="0" y="0"/>
                </a:moveTo>
                <a:lnTo>
                  <a:pt x="2390125" y="0"/>
                </a:lnTo>
                <a:lnTo>
                  <a:pt x="2390125" y="1994436"/>
                </a:lnTo>
                <a:lnTo>
                  <a:pt x="1195062" y="2579716"/>
                </a:lnTo>
                <a:lnTo>
                  <a:pt x="0" y="199443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</p:spPr>
        <p:txBody>
          <a:bodyPr vert="horz" wrap="square" lIns="0" tIns="0" rIns="0" bIns="288000" rtlCol="0" anchor="ctr" anchorCtr="0">
            <a:noAutofit/>
          </a:bodyPr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lang="de-DE" sz="11000" dirty="0">
                <a:solidFill>
                  <a:schemeClr val="bg1"/>
                </a:solidFill>
              </a:defRPr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1000" b="1">
                <a:solidFill>
                  <a:schemeClr val="bg1"/>
                </a:solidFill>
                <a:latin typeface="+mj-lt"/>
              </a:defRPr>
            </a:lvl2pPr>
            <a:lvl3pPr marL="0" indent="0" algn="ctr">
              <a:spcAft>
                <a:spcPts val="0"/>
              </a:spcAft>
              <a:buNone/>
              <a:defRPr sz="11000" b="1">
                <a:solidFill>
                  <a:schemeClr val="bg1"/>
                </a:solidFill>
                <a:latin typeface="+mj-lt"/>
              </a:defRPr>
            </a:lvl3pPr>
            <a:lvl4pPr marL="0" indent="0" algn="ctr">
              <a:spcAft>
                <a:spcPts val="0"/>
              </a:spcAft>
              <a:buNone/>
              <a:defRPr sz="11000" b="1">
                <a:solidFill>
                  <a:schemeClr val="bg1"/>
                </a:solidFill>
                <a:latin typeface="+mj-lt"/>
              </a:defRPr>
            </a:lvl4pPr>
            <a:lvl5pPr marL="0" indent="0" algn="ctr">
              <a:spcAft>
                <a:spcPts val="0"/>
              </a:spcAft>
              <a:buNone/>
              <a:defRPr sz="11000" b="1">
                <a:solidFill>
                  <a:schemeClr val="bg1"/>
                </a:solidFill>
                <a:latin typeface="+mj-lt"/>
              </a:defRPr>
            </a:lvl5pPr>
            <a:lvl6pPr marL="0" indent="0" algn="ctr">
              <a:spcAft>
                <a:spcPts val="0"/>
              </a:spcAft>
              <a:buNone/>
              <a:defRPr sz="11000" b="1">
                <a:solidFill>
                  <a:schemeClr val="bg1"/>
                </a:solidFill>
                <a:latin typeface="+mj-lt"/>
              </a:defRPr>
            </a:lvl6pPr>
            <a:lvl7pPr marL="0" indent="0" algn="ctr">
              <a:spcAft>
                <a:spcPts val="0"/>
              </a:spcAft>
              <a:buNone/>
              <a:defRPr sz="11000" b="1">
                <a:solidFill>
                  <a:schemeClr val="bg1"/>
                </a:solidFill>
                <a:latin typeface="+mj-lt"/>
              </a:defRPr>
            </a:lvl7pPr>
            <a:lvl8pPr marL="0" indent="0" algn="ctr">
              <a:spcAft>
                <a:spcPts val="0"/>
              </a:spcAft>
              <a:buNone/>
              <a:defRPr sz="11000" b="1">
                <a:solidFill>
                  <a:schemeClr val="bg1"/>
                </a:solidFill>
                <a:latin typeface="+mj-lt"/>
              </a:defRPr>
            </a:lvl8pPr>
            <a:lvl9pPr marL="0" indent="0" algn="ctr">
              <a:spcAft>
                <a:spcPts val="0"/>
              </a:spcAft>
              <a:buNone/>
              <a:defRPr sz="11000" b="1">
                <a:solidFill>
                  <a:schemeClr val="bg1"/>
                </a:solidFill>
                <a:latin typeface="+mj-lt"/>
              </a:defRPr>
            </a:lvl9pPr>
          </a:lstStyle>
          <a:p>
            <a:pPr lvl="0" algn="ctr">
              <a:spcAft>
                <a:spcPts val="0"/>
              </a:spcAft>
            </a:pPr>
            <a:r>
              <a:rPr lang="de-DE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39188079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7" userDrawn="1">
          <p15:clr>
            <a:srgbClr val="F26B43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mit Bild (he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862EF2F3-AE5D-4BD1-B244-0252E5F5621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1" y="0"/>
            <a:ext cx="12191999" cy="6858000"/>
          </a:xfrm>
          <a:solidFill>
            <a:schemeClr val="bg2"/>
          </a:solidFill>
        </p:spPr>
        <p:txBody>
          <a:bodyPr tIns="0" bIns="864000" anchor="ctr"/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551384" y="2997200"/>
            <a:ext cx="5472113" cy="1441026"/>
          </a:xfrm>
        </p:spPr>
        <p:txBody>
          <a:bodyPr anchor="b"/>
          <a:lstStyle>
            <a:lvl1pPr algn="l">
              <a:lnSpc>
                <a:spcPct val="90000"/>
              </a:lnSpc>
              <a:spcBef>
                <a:spcPts val="0"/>
              </a:spcBef>
              <a:defRPr sz="4000" b="1" i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/>
              <a:t>Aktuelles Kapitel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54899" y="4581028"/>
            <a:ext cx="5468598" cy="1440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2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2000" b="0" i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2000" b="0" i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2000" b="0" i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2000" b="0" i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20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2000" b="0" i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2000" b="0" i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2000" b="0" i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/>
              <a:t>Optionale Einführung in das Kapitel </a:t>
            </a:r>
            <a:br>
              <a:rPr lang="de-DE"/>
            </a:br>
            <a:r>
              <a:rPr lang="de-DE"/>
              <a:t>(in 1-2 Zeilen)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C7DFF6D-4724-4D30-9625-E3982F168F2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51384" y="0"/>
            <a:ext cx="2390125" cy="2579716"/>
          </a:xfrm>
          <a:custGeom>
            <a:avLst/>
            <a:gdLst>
              <a:gd name="connsiteX0" fmla="*/ 0 w 2390125"/>
              <a:gd name="connsiteY0" fmla="*/ 0 h 2528916"/>
              <a:gd name="connsiteX1" fmla="*/ 2390125 w 2390125"/>
              <a:gd name="connsiteY1" fmla="*/ 0 h 2528916"/>
              <a:gd name="connsiteX2" fmla="*/ 2390125 w 2390125"/>
              <a:gd name="connsiteY2" fmla="*/ 1994436 h 2528916"/>
              <a:gd name="connsiteX3" fmla="*/ 1195062 w 2390125"/>
              <a:gd name="connsiteY3" fmla="*/ 2528916 h 2528916"/>
              <a:gd name="connsiteX4" fmla="*/ 0 w 2390125"/>
              <a:gd name="connsiteY4" fmla="*/ 1994436 h 2528916"/>
              <a:gd name="connsiteX0" fmla="*/ 0 w 2390125"/>
              <a:gd name="connsiteY0" fmla="*/ 0 h 2579716"/>
              <a:gd name="connsiteX1" fmla="*/ 2390125 w 2390125"/>
              <a:gd name="connsiteY1" fmla="*/ 0 h 2579716"/>
              <a:gd name="connsiteX2" fmla="*/ 2390125 w 2390125"/>
              <a:gd name="connsiteY2" fmla="*/ 1994436 h 2579716"/>
              <a:gd name="connsiteX3" fmla="*/ 1195062 w 2390125"/>
              <a:gd name="connsiteY3" fmla="*/ 2579716 h 2579716"/>
              <a:gd name="connsiteX4" fmla="*/ 0 w 2390125"/>
              <a:gd name="connsiteY4" fmla="*/ 1994436 h 2579716"/>
              <a:gd name="connsiteX5" fmla="*/ 0 w 2390125"/>
              <a:gd name="connsiteY5" fmla="*/ 0 h 25797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390125" h="2579716">
                <a:moveTo>
                  <a:pt x="0" y="0"/>
                </a:moveTo>
                <a:lnTo>
                  <a:pt x="2390125" y="0"/>
                </a:lnTo>
                <a:lnTo>
                  <a:pt x="2390125" y="1994436"/>
                </a:lnTo>
                <a:lnTo>
                  <a:pt x="1195062" y="2579716"/>
                </a:lnTo>
                <a:lnTo>
                  <a:pt x="0" y="199443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</p:spPr>
        <p:txBody>
          <a:bodyPr vert="horz" wrap="square" lIns="0" tIns="0" rIns="0" bIns="288000" rtlCol="0" anchor="ctr" anchorCtr="0">
            <a:noAutofit/>
          </a:bodyPr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lang="de-DE" sz="11000" dirty="0">
                <a:solidFill>
                  <a:schemeClr val="bg1"/>
                </a:solidFill>
              </a:defRPr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1000" b="1">
                <a:solidFill>
                  <a:schemeClr val="bg1"/>
                </a:solidFill>
                <a:latin typeface="+mj-lt"/>
              </a:defRPr>
            </a:lvl2pPr>
            <a:lvl3pPr marL="0" indent="0" algn="ctr">
              <a:spcAft>
                <a:spcPts val="0"/>
              </a:spcAft>
              <a:buNone/>
              <a:defRPr sz="11000" b="1">
                <a:solidFill>
                  <a:schemeClr val="bg1"/>
                </a:solidFill>
                <a:latin typeface="+mj-lt"/>
              </a:defRPr>
            </a:lvl3pPr>
            <a:lvl4pPr marL="0" indent="0" algn="ctr">
              <a:spcAft>
                <a:spcPts val="0"/>
              </a:spcAft>
              <a:buNone/>
              <a:defRPr sz="11000" b="1">
                <a:solidFill>
                  <a:schemeClr val="bg1"/>
                </a:solidFill>
                <a:latin typeface="+mj-lt"/>
              </a:defRPr>
            </a:lvl4pPr>
            <a:lvl5pPr marL="0" indent="0" algn="ctr">
              <a:spcAft>
                <a:spcPts val="0"/>
              </a:spcAft>
              <a:buNone/>
              <a:defRPr sz="11000" b="1">
                <a:solidFill>
                  <a:schemeClr val="bg1"/>
                </a:solidFill>
                <a:latin typeface="+mj-lt"/>
              </a:defRPr>
            </a:lvl5pPr>
            <a:lvl6pPr marL="0" indent="0" algn="ctr">
              <a:spcAft>
                <a:spcPts val="0"/>
              </a:spcAft>
              <a:buNone/>
              <a:defRPr sz="11000" b="1">
                <a:solidFill>
                  <a:schemeClr val="bg1"/>
                </a:solidFill>
                <a:latin typeface="+mj-lt"/>
              </a:defRPr>
            </a:lvl6pPr>
            <a:lvl7pPr marL="0" indent="0" algn="ctr">
              <a:spcAft>
                <a:spcPts val="0"/>
              </a:spcAft>
              <a:buNone/>
              <a:defRPr sz="11000" b="1">
                <a:solidFill>
                  <a:schemeClr val="bg1"/>
                </a:solidFill>
                <a:latin typeface="+mj-lt"/>
              </a:defRPr>
            </a:lvl7pPr>
            <a:lvl8pPr marL="0" indent="0" algn="ctr">
              <a:spcAft>
                <a:spcPts val="0"/>
              </a:spcAft>
              <a:buNone/>
              <a:defRPr sz="11000" b="1">
                <a:solidFill>
                  <a:schemeClr val="bg1"/>
                </a:solidFill>
                <a:latin typeface="+mj-lt"/>
              </a:defRPr>
            </a:lvl8pPr>
            <a:lvl9pPr marL="0" indent="0" algn="ctr">
              <a:spcAft>
                <a:spcPts val="0"/>
              </a:spcAft>
              <a:buNone/>
              <a:defRPr sz="11000" b="1">
                <a:solidFill>
                  <a:schemeClr val="bg1"/>
                </a:solidFill>
                <a:latin typeface="+mj-lt"/>
              </a:defRPr>
            </a:lvl9pPr>
          </a:lstStyle>
          <a:p>
            <a:pPr lvl="0" algn="ctr">
              <a:spcAft>
                <a:spcPts val="0"/>
              </a:spcAft>
            </a:pPr>
            <a:r>
              <a:rPr lang="de-DE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28463250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7" userDrawn="1">
          <p15:clr>
            <a:srgbClr val="F26B43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White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6A8C11E-A4FB-46CD-B4A5-E93B19F627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7686538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8" imgW="415" imgH="416" progId="TCLayout.ActiveDocument.1">
                  <p:embed/>
                </p:oleObj>
              </mc:Choice>
              <mc:Fallback>
                <p:oleObj name="think-cell Folie" r:id="rId28" imgW="415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6A8C11E-A4FB-46CD-B4A5-E93B19F627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407368" y="332656"/>
            <a:ext cx="11376000" cy="4559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407988" y="1557338"/>
            <a:ext cx="11376025" cy="44640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6A232406-5D1F-4019-A1B4-D1FE1B8E5B2B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343472" y="6381328"/>
            <a:ext cx="766235" cy="216024"/>
          </a:xfrm>
          <a:prstGeom prst="rect">
            <a:avLst/>
          </a:prstGeom>
        </p:spPr>
        <p:txBody>
          <a:bodyPr vert="horz" wrap="none" lIns="0" tIns="36000" rIns="0" bIns="0" rtlCol="0" anchor="t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|  01.05.2021  |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10422BFB-FDCF-40DF-8706-BE2DD1303AA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181225" y="6381328"/>
            <a:ext cx="9200835" cy="214552"/>
          </a:xfrm>
          <a:prstGeom prst="rect">
            <a:avLst/>
          </a:prstGeom>
        </p:spPr>
        <p:txBody>
          <a:bodyPr vert="horz" lIns="0" tIns="36000" rIns="0" bIns="0" rtlCol="0" anchor="t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Schwarz Folienbibliothek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55CFDEC0-FDC8-4458-9278-C1E1E7F8985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424013" y="6381328"/>
            <a:ext cx="360000" cy="216000"/>
          </a:xfrm>
          <a:prstGeom prst="rect">
            <a:avLst/>
          </a:prstGeom>
        </p:spPr>
        <p:txBody>
          <a:bodyPr vert="horz" lIns="0" tIns="36000" rIns="0" bIns="0" rtlCol="0" anchor="t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pPr algn="r"/>
            <a:fld id="{8CFDFCC3-8B40-4EE5-B231-005F2F1C6A68}" type="slidenum">
              <a:rPr lang="de-DE" smtClean="0"/>
              <a:pPr algn="r"/>
              <a:t>‹#›</a:t>
            </a:fld>
            <a:endParaRPr lang="de-DE" dirty="0"/>
          </a:p>
        </p:txBody>
      </p: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028BC2D0-DB4B-493D-B494-1587AF911805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07368" y="-210066"/>
            <a:ext cx="0" cy="72000"/>
          </a:xfrm>
          <a:prstGeom prst="line">
            <a:avLst/>
          </a:prstGeom>
          <a:ln w="6350">
            <a:solidFill>
              <a:srgbClr val="E300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D3DDC106-3D96-492C-934E-5E56B69FA20C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3935760" y="-210066"/>
            <a:ext cx="0" cy="72000"/>
          </a:xfrm>
          <a:prstGeom prst="line">
            <a:avLst/>
          </a:prstGeom>
          <a:ln w="6350">
            <a:solidFill>
              <a:srgbClr val="E300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FDC58F67-1BD0-4280-B265-2A51CDE1985C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367808" y="-210066"/>
            <a:ext cx="0" cy="72000"/>
          </a:xfrm>
          <a:prstGeom prst="line">
            <a:avLst/>
          </a:prstGeom>
          <a:ln w="6350">
            <a:solidFill>
              <a:srgbClr val="E300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BAAC8661-90CE-4537-9100-7C5F573F93C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5879976" y="-210066"/>
            <a:ext cx="0" cy="72000"/>
          </a:xfrm>
          <a:prstGeom prst="line">
            <a:avLst/>
          </a:prstGeom>
          <a:ln w="6350">
            <a:solidFill>
              <a:srgbClr val="E300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23E55292-57DB-4CA8-9AC5-D138423FE4B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312024" y="-210066"/>
            <a:ext cx="0" cy="72000"/>
          </a:xfrm>
          <a:prstGeom prst="line">
            <a:avLst/>
          </a:prstGeom>
          <a:ln w="6350">
            <a:solidFill>
              <a:srgbClr val="E300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237C332C-740E-4084-B28E-2D7E1E136C09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7824192" y="-210066"/>
            <a:ext cx="0" cy="72000"/>
          </a:xfrm>
          <a:prstGeom prst="line">
            <a:avLst/>
          </a:prstGeom>
          <a:ln w="6350">
            <a:solidFill>
              <a:srgbClr val="E300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90FB4CB5-57B5-4C7A-9E6C-F430DE61AC00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8256240" y="-210066"/>
            <a:ext cx="0" cy="72000"/>
          </a:xfrm>
          <a:prstGeom prst="line">
            <a:avLst/>
          </a:prstGeom>
          <a:ln w="6350">
            <a:solidFill>
              <a:srgbClr val="E300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36CF3DE2-72C5-4897-919E-99D960EC288F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11784632" y="-210066"/>
            <a:ext cx="0" cy="72000"/>
          </a:xfrm>
          <a:prstGeom prst="line">
            <a:avLst/>
          </a:prstGeom>
          <a:ln w="6350">
            <a:solidFill>
              <a:srgbClr val="E300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hteck 10">
            <a:extLst>
              <a:ext uri="{FF2B5EF4-FFF2-40B4-BE49-F238E27FC236}">
                <a16:creationId xmlns:a16="http://schemas.microsoft.com/office/drawing/2014/main" id="{64477D50-C5EC-4F03-922D-8F22D43773E2}"/>
              </a:ext>
            </a:extLst>
          </p:cNvPr>
          <p:cNvSpPr/>
          <p:nvPr userDrawn="1"/>
        </p:nvSpPr>
        <p:spPr bwMode="gray">
          <a:xfrm>
            <a:off x="407987" y="6381328"/>
            <a:ext cx="859210" cy="174851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0" rtlCol="0" anchor="t">
            <a:spAutoFit/>
          </a:bodyPr>
          <a:lstStyle/>
          <a:p>
            <a:pPr algn="l"/>
            <a:r>
              <a:rPr lang="de-DE" sz="900" dirty="0">
                <a:solidFill>
                  <a:schemeClr val="tx1"/>
                </a:solidFill>
              </a:rPr>
              <a:t>Schwarz Gruppe</a:t>
            </a:r>
          </a:p>
        </p:txBody>
      </p: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96757901-4597-4461-A99C-BFB6F2F4A700}"/>
              </a:ext>
            </a:extLst>
          </p:cNvPr>
          <p:cNvCxnSpPr>
            <a:cxnSpLocks/>
          </p:cNvCxnSpPr>
          <p:nvPr userDrawn="1"/>
        </p:nvCxnSpPr>
        <p:spPr bwMode="gray">
          <a:xfrm rot="5400000">
            <a:off x="-132688" y="1520792"/>
            <a:ext cx="0" cy="72000"/>
          </a:xfrm>
          <a:prstGeom prst="line">
            <a:avLst/>
          </a:prstGeom>
          <a:ln w="6350">
            <a:solidFill>
              <a:srgbClr val="E300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FAD82119-9505-4BEC-8FBB-B5AE14FCE978}"/>
              </a:ext>
            </a:extLst>
          </p:cNvPr>
          <p:cNvCxnSpPr>
            <a:cxnSpLocks/>
          </p:cNvCxnSpPr>
          <p:nvPr userDrawn="1"/>
        </p:nvCxnSpPr>
        <p:spPr bwMode="gray">
          <a:xfrm rot="5400000">
            <a:off x="-132688" y="5985288"/>
            <a:ext cx="0" cy="72000"/>
          </a:xfrm>
          <a:prstGeom prst="line">
            <a:avLst/>
          </a:prstGeom>
          <a:ln w="6350">
            <a:solidFill>
              <a:srgbClr val="E300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B4524A53-2233-4808-B2A7-61F3FD2AB842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2927648" y="-210066"/>
            <a:ext cx="0" cy="72000"/>
          </a:xfrm>
          <a:prstGeom prst="line">
            <a:avLst/>
          </a:prstGeom>
          <a:ln w="6350">
            <a:solidFill>
              <a:srgbClr val="E300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60C3BCFD-2B75-4729-ACE4-0FD1D0B73D17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3359696" y="-210066"/>
            <a:ext cx="0" cy="72000"/>
          </a:xfrm>
          <a:prstGeom prst="line">
            <a:avLst/>
          </a:prstGeom>
          <a:ln w="6350">
            <a:solidFill>
              <a:srgbClr val="E300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r Verbinder 40">
            <a:extLst>
              <a:ext uri="{FF2B5EF4-FFF2-40B4-BE49-F238E27FC236}">
                <a16:creationId xmlns:a16="http://schemas.microsoft.com/office/drawing/2014/main" id="{E67127EA-D96D-4F54-86CC-ADDFE9AB70C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8832304" y="-210066"/>
            <a:ext cx="0" cy="72000"/>
          </a:xfrm>
          <a:prstGeom prst="line">
            <a:avLst/>
          </a:prstGeom>
          <a:ln w="6350">
            <a:solidFill>
              <a:srgbClr val="E300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9FBA3C99-BDBA-4C27-8135-CD581ED47E3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9264352" y="-210066"/>
            <a:ext cx="0" cy="72000"/>
          </a:xfrm>
          <a:prstGeom prst="line">
            <a:avLst/>
          </a:prstGeom>
          <a:ln w="6350">
            <a:solidFill>
              <a:srgbClr val="E300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98610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86" r:id="rId3"/>
    <p:sldLayoutId id="2147483668" r:id="rId4"/>
    <p:sldLayoutId id="2147483683" r:id="rId5"/>
    <p:sldLayoutId id="2147483671" r:id="rId6"/>
    <p:sldLayoutId id="2147483698" r:id="rId7"/>
    <p:sldLayoutId id="2147483672" r:id="rId8"/>
    <p:sldLayoutId id="2147483699" r:id="rId9"/>
    <p:sldLayoutId id="2147483650" r:id="rId10"/>
    <p:sldLayoutId id="2147483666" r:id="rId11"/>
    <p:sldLayoutId id="2147483667" r:id="rId12"/>
    <p:sldLayoutId id="2147483673" r:id="rId13"/>
    <p:sldLayoutId id="2147483674" r:id="rId14"/>
    <p:sldLayoutId id="2147483654" r:id="rId15"/>
    <p:sldLayoutId id="2147483675" r:id="rId16"/>
    <p:sldLayoutId id="2147483676" r:id="rId17"/>
    <p:sldLayoutId id="2147483678" r:id="rId18"/>
    <p:sldLayoutId id="2147483679" r:id="rId19"/>
    <p:sldLayoutId id="2147483682" r:id="rId20"/>
    <p:sldLayoutId id="2147483680" r:id="rId21"/>
    <p:sldLayoutId id="2147483681" r:id="rId22"/>
    <p:sldLayoutId id="2147483685" r:id="rId23"/>
    <p:sldLayoutId id="2147483697" r:id="rId24"/>
    <p:sldLayoutId id="2147483655" r:id="rId25"/>
  </p:sldLayoutIdLst>
  <p:hf hdr="0"/>
  <p:txStyles>
    <p:titleStyle>
      <a:lvl1pPr algn="l" defTabSz="914377" rtl="0" eaLnBrk="1" latinLnBrk="0" hangingPunct="1">
        <a:lnSpc>
          <a:spcPct val="95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1800"/>
        </a:spcAft>
        <a:buFont typeface="Arial" panose="020B0604020202020204" pitchFamily="34" charset="0"/>
        <a:buNone/>
        <a:defRPr sz="1600" b="1" kern="1200">
          <a:solidFill>
            <a:schemeClr val="accent1"/>
          </a:solidFill>
          <a:latin typeface="+mj-lt"/>
          <a:ea typeface="+mn-ea"/>
          <a:cs typeface="+mn-cs"/>
        </a:defRPr>
      </a:lvl1pPr>
      <a:lvl2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18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77800" indent="-177800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355600" indent="-177800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533400" indent="-177800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723900" indent="-190500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723900" indent="-190500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23900" indent="-190500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723900" indent="-190500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57" userDrawn="1">
          <p15:clr>
            <a:srgbClr val="F26B43"/>
          </p15:clr>
        </p15:guide>
        <p15:guide id="12" pos="7423" userDrawn="1">
          <p15:clr>
            <a:srgbClr val="F26B43"/>
          </p15:clr>
        </p15:guide>
        <p15:guide id="13" orient="horz" pos="981" userDrawn="1">
          <p15:clr>
            <a:srgbClr val="F26B43"/>
          </p15:clr>
        </p15:guide>
        <p15:guide id="14" orient="horz" pos="3793" userDrawn="1">
          <p15:clr>
            <a:srgbClr val="F26B43"/>
          </p15:clr>
        </p15:guide>
        <p15:guide id="15" orient="horz" pos="2160" userDrawn="1">
          <p15:clr>
            <a:srgbClr val="9FCC3B"/>
          </p15:clr>
        </p15:guide>
        <p15:guide id="16" pos="3840" userDrawn="1">
          <p15:clr>
            <a:srgbClr val="9FCC3B"/>
          </p15:clr>
        </p15:guide>
        <p15:guide id="17" pos="1844" userDrawn="1">
          <p15:clr>
            <a:srgbClr val="5ACBF0"/>
          </p15:clr>
        </p15:guide>
        <p15:guide id="18" pos="2116" userDrawn="1">
          <p15:clr>
            <a:srgbClr val="5ACBF0"/>
          </p15:clr>
        </p15:guide>
        <p15:guide id="19" pos="2479" userDrawn="1">
          <p15:clr>
            <a:srgbClr val="5ACBF0"/>
          </p15:clr>
        </p15:guide>
        <p15:guide id="20" pos="2751" userDrawn="1">
          <p15:clr>
            <a:srgbClr val="5ACBF0"/>
          </p15:clr>
        </p15:guide>
        <p15:guide id="21" pos="3704" userDrawn="1">
          <p15:clr>
            <a:srgbClr val="5ACBF0"/>
          </p15:clr>
        </p15:guide>
        <p15:guide id="22" pos="3976" userDrawn="1">
          <p15:clr>
            <a:srgbClr val="5ACBF0"/>
          </p15:clr>
        </p15:guide>
        <p15:guide id="23" pos="4929" userDrawn="1">
          <p15:clr>
            <a:srgbClr val="5ACBF0"/>
          </p15:clr>
        </p15:guide>
        <p15:guide id="24" pos="5201" userDrawn="1">
          <p15:clr>
            <a:srgbClr val="5ACBF0"/>
          </p15:clr>
        </p15:guide>
        <p15:guide id="25" pos="5564" userDrawn="1">
          <p15:clr>
            <a:srgbClr val="5ACBF0"/>
          </p15:clr>
        </p15:guide>
        <p15:guide id="26" pos="5836" userDrawn="1">
          <p15:clr>
            <a:srgbClr val="5ACBF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Programming_paradigm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6" Type="http://schemas.openxmlformats.org/officeDocument/2006/relationships/hyperlink" Target="https://en.wikipedia.org/wiki/Computer_program" TargetMode="External"/><Relationship Id="rId5" Type="http://schemas.openxmlformats.org/officeDocument/2006/relationships/hyperlink" Target="https://en.wikipedia.org/wiki/Data" TargetMode="External"/><Relationship Id="rId4" Type="http://schemas.openxmlformats.org/officeDocument/2006/relationships/hyperlink" Target="https://en.wikipedia.org/wiki/Object_(computer_science)" TargetMode="Externa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Encapsulation_(computer_programming)#An_information-hiding_mechanism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90996C-9A0D-3146-9E17-31675C6991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2004" y="2493443"/>
            <a:ext cx="7379422" cy="1655478"/>
          </a:xfrm>
        </p:spPr>
        <p:txBody>
          <a:bodyPr/>
          <a:lstStyle/>
          <a:p>
            <a:r>
              <a:rPr lang="en-BG"/>
              <a:t>Object Oriented Programing with Java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72414910-4D12-F839-506B-85E89418D760}"/>
              </a:ext>
            </a:extLst>
          </p:cNvPr>
          <p:cNvSpPr txBox="1">
            <a:spLocks/>
          </p:cNvSpPr>
          <p:nvPr/>
        </p:nvSpPr>
        <p:spPr bwMode="gray">
          <a:xfrm>
            <a:off x="5818723" y="5883965"/>
            <a:ext cx="4225405" cy="89219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sz="4000" b="1" i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BG" sz="2000"/>
              <a:t>Stefan Stefanov</a:t>
            </a:r>
          </a:p>
          <a:p>
            <a:r>
              <a:rPr lang="en-BG" sz="2000"/>
              <a:t>BE Developer / Dev Lead</a:t>
            </a:r>
          </a:p>
        </p:txBody>
      </p:sp>
    </p:spTree>
    <p:extLst>
      <p:ext uri="{BB962C8B-B14F-4D97-AF65-F5344CB8AC3E}">
        <p14:creationId xmlns:p14="http://schemas.microsoft.com/office/powerpoint/2010/main" val="235461422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7A9D29D8-8C89-F212-EEF0-5B02361B0F8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9685" y="293309"/>
            <a:ext cx="11232629" cy="1441374"/>
          </a:xfrm>
        </p:spPr>
        <p:txBody>
          <a:bodyPr/>
          <a:lstStyle/>
          <a:p>
            <a:r>
              <a:rPr lang="en-US" dirty="0"/>
              <a:t>Specific types of a class</a:t>
            </a:r>
            <a:endParaRPr lang="en-BG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F45C1EB9-3FE0-9270-85C9-E5BACFFC1D61}"/>
              </a:ext>
            </a:extLst>
          </p:cNvPr>
          <p:cNvSpPr txBox="1">
            <a:spLocks/>
          </p:cNvSpPr>
          <p:nvPr/>
        </p:nvSpPr>
        <p:spPr bwMode="gray">
          <a:xfrm>
            <a:off x="1600200" y="1811756"/>
            <a:ext cx="9640957" cy="4499592"/>
          </a:xfrm>
          <a:prstGeom prst="rect">
            <a:avLst/>
          </a:prstGeom>
        </p:spPr>
        <p:txBody>
          <a:bodyPr vert="horz" lIns="0" tIns="54000" rIns="0" bIns="0" rtlCol="0" anchor="t" anchorCtr="0">
            <a:noAutofit/>
          </a:bodyPr>
          <a:lstStyle>
            <a:lvl1pPr algn="l" defTabSz="914377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36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600" dirty="0"/>
              <a:t>Static a.k.a. Utility Class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600" dirty="0"/>
              <a:t>Final Class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600" dirty="0"/>
              <a:t>Abstract Class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600" dirty="0"/>
              <a:t>Concrete Class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600" dirty="0"/>
              <a:t>Singleton Class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600" dirty="0"/>
              <a:t>POJO </a:t>
            </a:r>
            <a:r>
              <a:rPr lang="en-GB" sz="2600" dirty="0" err="1"/>
              <a:t>a.k.a</a:t>
            </a:r>
            <a:r>
              <a:rPr lang="en-GB" sz="2600" dirty="0"/>
              <a:t> Data Class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600" dirty="0"/>
              <a:t>Inner Class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GB" sz="2600" dirty="0"/>
          </a:p>
          <a:p>
            <a:endParaRPr lang="en-GB" sz="2600" dirty="0"/>
          </a:p>
        </p:txBody>
      </p:sp>
    </p:spTree>
    <p:extLst>
      <p:ext uri="{BB962C8B-B14F-4D97-AF65-F5344CB8AC3E}">
        <p14:creationId xmlns:p14="http://schemas.microsoft.com/office/powerpoint/2010/main" val="132965532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053E2C-011A-42A0-9CCB-5BF840FD63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A9C4270-47F9-4995-8A6A-69F7EF7037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2C483021-26FC-364F-B04C-303C4765BD20}"/>
              </a:ext>
            </a:extLst>
          </p:cNvPr>
          <p:cNvSpPr txBox="1"/>
          <p:nvPr/>
        </p:nvSpPr>
        <p:spPr bwMode="gray">
          <a:xfrm>
            <a:off x="479685" y="1469036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285750" indent="-285750" algn="l"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60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F13799C-10A5-7905-EB23-F5052C960950}"/>
              </a:ext>
            </a:extLst>
          </p:cNvPr>
          <p:cNvSpPr/>
          <p:nvPr/>
        </p:nvSpPr>
        <p:spPr bwMode="gray">
          <a:xfrm>
            <a:off x="268357" y="6241774"/>
            <a:ext cx="1331843" cy="477078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G" sz="1600" err="1">
              <a:ln>
                <a:solidFill>
                  <a:schemeClr val="bg1"/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5FE9877E-CDA8-FDD9-3C2E-5A8E16C0994C}"/>
              </a:ext>
            </a:extLst>
          </p:cNvPr>
          <p:cNvSpPr txBox="1">
            <a:spLocks/>
          </p:cNvSpPr>
          <p:nvPr/>
        </p:nvSpPr>
        <p:spPr bwMode="gray">
          <a:xfrm>
            <a:off x="1600200" y="1811756"/>
            <a:ext cx="7379422" cy="2511765"/>
          </a:xfrm>
          <a:prstGeom prst="rect">
            <a:avLst/>
          </a:prstGeom>
        </p:spPr>
        <p:txBody>
          <a:bodyPr vert="horz" lIns="0" tIns="54000" rIns="0" bIns="0" rtlCol="0" anchor="t" anchorCtr="0">
            <a:noAutofit/>
          </a:bodyPr>
          <a:lstStyle>
            <a:lvl1pPr algn="l" defTabSz="914377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36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514350" indent="-514350">
              <a:buFont typeface="Arial" panose="020B0604020202020204" pitchFamily="34" charset="0"/>
              <a:buChar char="•"/>
            </a:pPr>
            <a:r>
              <a:rPr lang="en-BG" sz="2600" dirty="0"/>
              <a:t>What OOP is?</a:t>
            </a:r>
          </a:p>
          <a:p>
            <a:pPr marL="514350" indent="-514350">
              <a:buFont typeface="Arial" panose="020B0604020202020204" pitchFamily="34" charset="0"/>
              <a:buChar char="•"/>
            </a:pPr>
            <a:r>
              <a:rPr lang="en-BG" sz="2600" dirty="0"/>
              <a:t>Pros and </a:t>
            </a:r>
            <a:r>
              <a:rPr lang="en-US" sz="2600" dirty="0"/>
              <a:t>c</a:t>
            </a:r>
            <a:r>
              <a:rPr lang="en-BG" sz="2600" dirty="0"/>
              <a:t>ons</a:t>
            </a:r>
          </a:p>
          <a:p>
            <a:pPr marL="514350" indent="-514350">
              <a:buFont typeface="Arial" panose="020B0604020202020204" pitchFamily="34" charset="0"/>
              <a:buChar char="•"/>
            </a:pPr>
            <a:r>
              <a:rPr lang="en-BG" sz="2600" dirty="0"/>
              <a:t>How a Java class looks like</a:t>
            </a:r>
          </a:p>
          <a:p>
            <a:pPr marL="514350" indent="-514350">
              <a:buFont typeface="Arial" panose="020B0604020202020204" pitchFamily="34" charset="0"/>
              <a:buChar char="•"/>
            </a:pPr>
            <a:r>
              <a:rPr lang="en-BG" sz="2600" dirty="0"/>
              <a:t>Four principles of OOP</a:t>
            </a:r>
          </a:p>
          <a:p>
            <a:pPr marL="514350" indent="-514350">
              <a:buFont typeface="Arial" panose="020B0604020202020204" pitchFamily="34" charset="0"/>
              <a:buChar char="•"/>
            </a:pPr>
            <a:r>
              <a:rPr lang="en-US" sz="2600" dirty="0"/>
              <a:t>Some specific type of classes</a:t>
            </a:r>
            <a:endParaRPr lang="en-BG" sz="2600" dirty="0"/>
          </a:p>
          <a:p>
            <a:pPr marL="514350" indent="-514350">
              <a:buFont typeface="+mj-lt"/>
              <a:buAutoNum type="arabicPeriod"/>
            </a:pPr>
            <a:endParaRPr lang="en-BG" sz="2600" dirty="0"/>
          </a:p>
          <a:p>
            <a:pPr marL="514350" indent="-514350">
              <a:buFont typeface="+mj-lt"/>
              <a:buAutoNum type="arabicPeriod"/>
            </a:pPr>
            <a:endParaRPr lang="en-BG" sz="2600" dirty="0"/>
          </a:p>
        </p:txBody>
      </p:sp>
    </p:spTree>
    <p:extLst>
      <p:ext uri="{BB962C8B-B14F-4D97-AF65-F5344CB8AC3E}">
        <p14:creationId xmlns:p14="http://schemas.microsoft.com/office/powerpoint/2010/main" val="381778864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7A9D29D8-8C89-F212-EEF0-5B02361B0F8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9685" y="293309"/>
            <a:ext cx="11232629" cy="1441374"/>
          </a:xfrm>
        </p:spPr>
        <p:txBody>
          <a:bodyPr/>
          <a:lstStyle/>
          <a:p>
            <a:r>
              <a:rPr lang="en-BG" dirty="0"/>
              <a:t>What OOP is?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F45C1EB9-3FE0-9270-85C9-E5BACFFC1D61}"/>
              </a:ext>
            </a:extLst>
          </p:cNvPr>
          <p:cNvSpPr txBox="1">
            <a:spLocks/>
          </p:cNvSpPr>
          <p:nvPr/>
        </p:nvSpPr>
        <p:spPr bwMode="gray">
          <a:xfrm>
            <a:off x="1600200" y="1811756"/>
            <a:ext cx="9640957" cy="4499592"/>
          </a:xfrm>
          <a:prstGeom prst="rect">
            <a:avLst/>
          </a:prstGeom>
        </p:spPr>
        <p:txBody>
          <a:bodyPr vert="horz" lIns="0" tIns="54000" rIns="0" bIns="0" rtlCol="0" anchor="t" anchorCtr="0">
            <a:noAutofit/>
          </a:bodyPr>
          <a:lstStyle>
            <a:lvl1pPr algn="l" defTabSz="914377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36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600" dirty="0"/>
              <a:t>Object-oriented programming</a:t>
            </a:r>
            <a:r>
              <a:rPr lang="en-GB" sz="2600" b="0" dirty="0"/>
              <a:t> (</a:t>
            </a:r>
            <a:r>
              <a:rPr lang="en-GB" sz="2600" dirty="0"/>
              <a:t>OOP</a:t>
            </a:r>
            <a:r>
              <a:rPr lang="en-GB" sz="2600" b="0" dirty="0"/>
              <a:t>) is a </a:t>
            </a:r>
            <a:r>
              <a:rPr lang="en-GB" sz="2600" b="0" dirty="0">
                <a:hlinkClick r:id="rId3" tooltip="Programming paradigm"/>
              </a:rPr>
              <a:t>programming paradigm</a:t>
            </a:r>
            <a:r>
              <a:rPr lang="en-GB" sz="2600" b="0" dirty="0"/>
              <a:t> based on the concept of "</a:t>
            </a:r>
            <a:r>
              <a:rPr lang="en-GB" sz="2600" b="0" dirty="0">
                <a:hlinkClick r:id="rId4" tooltip="Object (computer science)"/>
              </a:rPr>
              <a:t>objects</a:t>
            </a:r>
            <a:r>
              <a:rPr lang="en-GB" sz="2600" b="0" dirty="0"/>
              <a:t>", which can contain </a:t>
            </a:r>
            <a:r>
              <a:rPr lang="en-GB" sz="2600" b="0" dirty="0">
                <a:hlinkClick r:id="rId5" tooltip="Data"/>
              </a:rPr>
              <a:t>data</a:t>
            </a:r>
            <a:r>
              <a:rPr lang="en-GB" sz="2600" b="0" dirty="0"/>
              <a:t> and </a:t>
            </a:r>
            <a:r>
              <a:rPr lang="en-GB" sz="2600" b="0" dirty="0">
                <a:hlinkClick r:id="rId6" tooltip="Computer program"/>
              </a:rPr>
              <a:t>code</a:t>
            </a:r>
            <a:r>
              <a:rPr lang="en-GB" sz="2600" b="0" dirty="0"/>
              <a:t>: </a:t>
            </a:r>
          </a:p>
          <a:p>
            <a:endParaRPr lang="en-GB" sz="2600" b="0" dirty="0"/>
          </a:p>
          <a:p>
            <a:r>
              <a:rPr lang="en-GB" sz="2600" b="0" dirty="0">
                <a:hlinkClick r:id="rId5" tooltip="Data"/>
              </a:rPr>
              <a:t>data</a:t>
            </a:r>
            <a:r>
              <a:rPr lang="en-GB" sz="2600" b="0" dirty="0"/>
              <a:t> in the form of fields</a:t>
            </a:r>
          </a:p>
          <a:p>
            <a:r>
              <a:rPr lang="en-GB" sz="2600" b="0" dirty="0">
                <a:hlinkClick r:id="rId6" tooltip="Computer program"/>
              </a:rPr>
              <a:t>code</a:t>
            </a:r>
            <a:r>
              <a:rPr lang="en-GB" sz="2600" b="0" dirty="0"/>
              <a:t> in the form of methods</a:t>
            </a:r>
          </a:p>
          <a:p>
            <a:endParaRPr lang="en-GB" sz="2600" b="0" dirty="0"/>
          </a:p>
          <a:p>
            <a:endParaRPr lang="en-BG" sz="2600" dirty="0"/>
          </a:p>
        </p:txBody>
      </p:sp>
    </p:spTree>
    <p:extLst>
      <p:ext uri="{BB962C8B-B14F-4D97-AF65-F5344CB8AC3E}">
        <p14:creationId xmlns:p14="http://schemas.microsoft.com/office/powerpoint/2010/main" val="24162489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7A9D29D8-8C89-F212-EEF0-5B02361B0F8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9685" y="293309"/>
            <a:ext cx="11232629" cy="1441374"/>
          </a:xfrm>
        </p:spPr>
        <p:txBody>
          <a:bodyPr/>
          <a:lstStyle/>
          <a:p>
            <a:r>
              <a:rPr lang="en-BG" dirty="0"/>
              <a:t>Pros and Cons?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F45C1EB9-3FE0-9270-85C9-E5BACFFC1D61}"/>
              </a:ext>
            </a:extLst>
          </p:cNvPr>
          <p:cNvSpPr txBox="1">
            <a:spLocks/>
          </p:cNvSpPr>
          <p:nvPr/>
        </p:nvSpPr>
        <p:spPr bwMode="gray">
          <a:xfrm>
            <a:off x="1600200" y="1811756"/>
            <a:ext cx="9640957" cy="4499592"/>
          </a:xfrm>
          <a:prstGeom prst="rect">
            <a:avLst/>
          </a:prstGeom>
        </p:spPr>
        <p:txBody>
          <a:bodyPr vert="horz" lIns="0" tIns="54000" rIns="0" bIns="0" rtlCol="0" anchor="t" anchorCtr="0">
            <a:noAutofit/>
          </a:bodyPr>
          <a:lstStyle>
            <a:lvl1pPr algn="l" defTabSz="914377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36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600" dirty="0"/>
              <a:t>Pros: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000" b="0" dirty="0"/>
              <a:t>Productivity of software development increased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000" b="0" dirty="0"/>
              <a:t>Software maintenance improved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000" b="0" dirty="0"/>
              <a:t>Quicker improvement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000" b="0" dirty="0"/>
              <a:t>Cost of development lowered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000" b="0" dirty="0"/>
              <a:t>Good quality softwar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GB" sz="2000" b="0" dirty="0"/>
          </a:p>
          <a:p>
            <a:r>
              <a:rPr lang="en-GB" sz="2600" dirty="0"/>
              <a:t>Cons: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000" b="0" dirty="0"/>
              <a:t>Steep expectation to learn and adapt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000" b="0" dirty="0"/>
              <a:t>Bigger program siz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000" b="0" dirty="0"/>
              <a:t>Not appropriate for a wide range of issues</a:t>
            </a:r>
          </a:p>
          <a:p>
            <a:endParaRPr lang="en-BG" sz="2600" dirty="0"/>
          </a:p>
        </p:txBody>
      </p:sp>
    </p:spTree>
    <p:extLst>
      <p:ext uri="{BB962C8B-B14F-4D97-AF65-F5344CB8AC3E}">
        <p14:creationId xmlns:p14="http://schemas.microsoft.com/office/powerpoint/2010/main" val="392478706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7A9D29D8-8C89-F212-EEF0-5B02361B0F8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9685" y="293309"/>
            <a:ext cx="11232629" cy="1441374"/>
          </a:xfrm>
        </p:spPr>
        <p:txBody>
          <a:bodyPr/>
          <a:lstStyle/>
          <a:p>
            <a:r>
              <a:rPr lang="en-BG" dirty="0"/>
              <a:t>How a Java class looks like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F45C1EB9-3FE0-9270-85C9-E5BACFFC1D61}"/>
              </a:ext>
            </a:extLst>
          </p:cNvPr>
          <p:cNvSpPr txBox="1">
            <a:spLocks/>
          </p:cNvSpPr>
          <p:nvPr/>
        </p:nvSpPr>
        <p:spPr bwMode="gray">
          <a:xfrm>
            <a:off x="1600200" y="1811756"/>
            <a:ext cx="9640957" cy="4499592"/>
          </a:xfrm>
          <a:prstGeom prst="rect">
            <a:avLst/>
          </a:prstGeom>
        </p:spPr>
        <p:txBody>
          <a:bodyPr vert="horz" lIns="0" tIns="54000" rIns="0" bIns="0" rtlCol="0" anchor="t" anchorCtr="0">
            <a:noAutofit/>
          </a:bodyPr>
          <a:lstStyle>
            <a:lvl1pPr algn="l" defTabSz="914377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36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600" dirty="0"/>
              <a:t>Fields </a:t>
            </a:r>
            <a:r>
              <a:rPr lang="en-US" sz="2600" dirty="0" err="1"/>
              <a:t>a.k.a</a:t>
            </a:r>
            <a:r>
              <a:rPr lang="en-US" sz="2600" dirty="0"/>
              <a:t> Properties</a:t>
            </a:r>
            <a:endParaRPr lang="en-GB" sz="26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600" dirty="0"/>
              <a:t>Methods </a:t>
            </a:r>
            <a:r>
              <a:rPr lang="en-GB" sz="2600" dirty="0" err="1"/>
              <a:t>a.k.a</a:t>
            </a:r>
            <a:r>
              <a:rPr lang="en-GB" sz="2600" dirty="0"/>
              <a:t> Procedure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600" dirty="0"/>
              <a:t>Constructor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600" dirty="0"/>
              <a:t>Access modifier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600" dirty="0"/>
              <a:t>Some key words</a:t>
            </a:r>
          </a:p>
          <a:p>
            <a:endParaRPr lang="en-GB" sz="2600" dirty="0"/>
          </a:p>
        </p:txBody>
      </p:sp>
    </p:spTree>
    <p:extLst>
      <p:ext uri="{BB962C8B-B14F-4D97-AF65-F5344CB8AC3E}">
        <p14:creationId xmlns:p14="http://schemas.microsoft.com/office/powerpoint/2010/main" val="232671964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7A9D29D8-8C89-F212-EEF0-5B02361B0F8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9685" y="293309"/>
            <a:ext cx="11232629" cy="1441374"/>
          </a:xfrm>
        </p:spPr>
        <p:txBody>
          <a:bodyPr/>
          <a:lstStyle/>
          <a:p>
            <a:r>
              <a:rPr lang="en-US" dirty="0"/>
              <a:t>Encapsulation</a:t>
            </a:r>
            <a:endParaRPr lang="en-BG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F45C1EB9-3FE0-9270-85C9-E5BACFFC1D61}"/>
              </a:ext>
            </a:extLst>
          </p:cNvPr>
          <p:cNvSpPr txBox="1">
            <a:spLocks/>
          </p:cNvSpPr>
          <p:nvPr/>
        </p:nvSpPr>
        <p:spPr bwMode="gray">
          <a:xfrm>
            <a:off x="1600200" y="1811756"/>
            <a:ext cx="9640957" cy="4499592"/>
          </a:xfrm>
          <a:prstGeom prst="rect">
            <a:avLst/>
          </a:prstGeom>
        </p:spPr>
        <p:txBody>
          <a:bodyPr vert="horz" lIns="0" tIns="54000" rIns="0" bIns="0" rtlCol="0" anchor="t" anchorCtr="0">
            <a:noAutofit/>
          </a:bodyPr>
          <a:lstStyle>
            <a:lvl1pPr algn="l" defTabSz="914377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36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000" b="0" dirty="0"/>
              <a:t>Idea of bundling data and methods that work on that data within one unit (like a class in Java). </a:t>
            </a:r>
          </a:p>
          <a:p>
            <a:endParaRPr lang="en-GB" sz="2000" b="0" dirty="0"/>
          </a:p>
          <a:p>
            <a:r>
              <a:rPr lang="en-GB" sz="2000" b="0" dirty="0"/>
              <a:t>This concept is also often used to hide the internal representation, or state of an object from the outside. This is called </a:t>
            </a:r>
            <a:r>
              <a:rPr lang="en-GB" sz="2000" b="0" dirty="0">
                <a:hlinkClick r:id="rId3"/>
              </a:rPr>
              <a:t>information hiding</a:t>
            </a:r>
            <a:r>
              <a:rPr lang="en-GB" sz="2000" b="0" dirty="0"/>
              <a:t>.</a:t>
            </a:r>
            <a:endParaRPr lang="en-GB" sz="2000" dirty="0"/>
          </a:p>
        </p:txBody>
      </p:sp>
    </p:spTree>
    <p:extLst>
      <p:ext uri="{BB962C8B-B14F-4D97-AF65-F5344CB8AC3E}">
        <p14:creationId xmlns:p14="http://schemas.microsoft.com/office/powerpoint/2010/main" val="224785576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7A9D29D8-8C89-F212-EEF0-5B02361B0F8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9685" y="293309"/>
            <a:ext cx="11232629" cy="1441374"/>
          </a:xfrm>
        </p:spPr>
        <p:txBody>
          <a:bodyPr/>
          <a:lstStyle/>
          <a:p>
            <a:r>
              <a:rPr lang="en-US" dirty="0"/>
              <a:t>Inheritance</a:t>
            </a:r>
            <a:endParaRPr lang="en-BG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F45C1EB9-3FE0-9270-85C9-E5BACFFC1D61}"/>
              </a:ext>
            </a:extLst>
          </p:cNvPr>
          <p:cNvSpPr txBox="1">
            <a:spLocks/>
          </p:cNvSpPr>
          <p:nvPr/>
        </p:nvSpPr>
        <p:spPr bwMode="gray">
          <a:xfrm>
            <a:off x="1600200" y="1811756"/>
            <a:ext cx="9640957" cy="4499592"/>
          </a:xfrm>
          <a:prstGeom prst="rect">
            <a:avLst/>
          </a:prstGeom>
        </p:spPr>
        <p:txBody>
          <a:bodyPr vert="horz" lIns="0" tIns="54000" rIns="0" bIns="0" rtlCol="0" anchor="t" anchorCtr="0">
            <a:noAutofit/>
          </a:bodyPr>
          <a:lstStyle>
            <a:lvl1pPr algn="l" defTabSz="914377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36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000" b="0" dirty="0"/>
              <a:t>Mechanism where you can to derive a class from another class for a hierarchy of classes that share a set of attributes and methods.</a:t>
            </a:r>
            <a:endParaRPr lang="en-GB" sz="2000" dirty="0"/>
          </a:p>
        </p:txBody>
      </p:sp>
      <p:pic>
        <p:nvPicPr>
          <p:cNvPr id="3" name="Picture 2" descr="Timeline&#10;&#10;Description automatically generated">
            <a:extLst>
              <a:ext uri="{FF2B5EF4-FFF2-40B4-BE49-F238E27FC236}">
                <a16:creationId xmlns:a16="http://schemas.microsoft.com/office/drawing/2014/main" id="{5ACFCF8B-43CD-A5FA-3E54-29A2F5DA788C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2841"/>
          <a:stretch/>
        </p:blipFill>
        <p:spPr>
          <a:xfrm>
            <a:off x="479685" y="2502567"/>
            <a:ext cx="6147745" cy="2165125"/>
          </a:xfrm>
          <a:prstGeom prst="rect">
            <a:avLst/>
          </a:prstGeom>
        </p:spPr>
      </p:pic>
      <p:pic>
        <p:nvPicPr>
          <p:cNvPr id="7" name="Picture 6" descr="Timeline&#10;&#10;Description automatically generated">
            <a:extLst>
              <a:ext uri="{FF2B5EF4-FFF2-40B4-BE49-F238E27FC236}">
                <a16:creationId xmlns:a16="http://schemas.microsoft.com/office/drawing/2014/main" id="{DC89224B-4D2A-F199-51B3-1482E59DDBA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7159"/>
          <a:stretch/>
        </p:blipFill>
        <p:spPr>
          <a:xfrm>
            <a:off x="6152131" y="4040372"/>
            <a:ext cx="5754947" cy="22709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747572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7A9D29D8-8C89-F212-EEF0-5B02361B0F8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9685" y="293309"/>
            <a:ext cx="11232629" cy="1441374"/>
          </a:xfrm>
        </p:spPr>
        <p:txBody>
          <a:bodyPr/>
          <a:lstStyle/>
          <a:p>
            <a:r>
              <a:rPr lang="en-US" dirty="0"/>
              <a:t>Abstraction</a:t>
            </a:r>
            <a:endParaRPr lang="en-BG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F45C1EB9-3FE0-9270-85C9-E5BACFFC1D61}"/>
              </a:ext>
            </a:extLst>
          </p:cNvPr>
          <p:cNvSpPr txBox="1">
            <a:spLocks/>
          </p:cNvSpPr>
          <p:nvPr/>
        </p:nvSpPr>
        <p:spPr bwMode="gray">
          <a:xfrm>
            <a:off x="1600200" y="1811756"/>
            <a:ext cx="9640957" cy="4499592"/>
          </a:xfrm>
          <a:prstGeom prst="rect">
            <a:avLst/>
          </a:prstGeom>
        </p:spPr>
        <p:txBody>
          <a:bodyPr vert="horz" lIns="0" tIns="54000" rIns="0" bIns="0" rtlCol="0" anchor="t" anchorCtr="0">
            <a:noAutofit/>
          </a:bodyPr>
          <a:lstStyle>
            <a:lvl1pPr algn="l" defTabSz="914377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36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000" b="0" dirty="0"/>
              <a:t>Abstraction is selecting data from a larger pool to show only relevant details of the object to the user.</a:t>
            </a:r>
          </a:p>
          <a:p>
            <a:r>
              <a:rPr lang="en-GB" sz="2000" b="0" dirty="0"/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b="0" dirty="0"/>
              <a:t>One of the most important concepts of OOP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b="0" dirty="0"/>
              <a:t>It allows you to group related classes as sibling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b="0" dirty="0"/>
              <a:t>Reduces the complexity of the design and implementation process of softwar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000" b="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000" b="0" dirty="0"/>
          </a:p>
        </p:txBody>
      </p:sp>
    </p:spTree>
    <p:extLst>
      <p:ext uri="{BB962C8B-B14F-4D97-AF65-F5344CB8AC3E}">
        <p14:creationId xmlns:p14="http://schemas.microsoft.com/office/powerpoint/2010/main" val="40846523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7A9D29D8-8C89-F212-EEF0-5B02361B0F8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9685" y="293309"/>
            <a:ext cx="11232629" cy="1441374"/>
          </a:xfrm>
        </p:spPr>
        <p:txBody>
          <a:bodyPr/>
          <a:lstStyle/>
          <a:p>
            <a:r>
              <a:rPr lang="en-US" dirty="0"/>
              <a:t>Polymorphism</a:t>
            </a:r>
            <a:endParaRPr lang="en-BG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F45C1EB9-3FE0-9270-85C9-E5BACFFC1D61}"/>
              </a:ext>
            </a:extLst>
          </p:cNvPr>
          <p:cNvSpPr txBox="1">
            <a:spLocks/>
          </p:cNvSpPr>
          <p:nvPr/>
        </p:nvSpPr>
        <p:spPr bwMode="gray">
          <a:xfrm>
            <a:off x="1600200" y="1811756"/>
            <a:ext cx="9640957" cy="4499592"/>
          </a:xfrm>
          <a:prstGeom prst="rect">
            <a:avLst/>
          </a:prstGeom>
        </p:spPr>
        <p:txBody>
          <a:bodyPr vert="horz" lIns="0" tIns="54000" rIns="0" bIns="0" rtlCol="0" anchor="t" anchorCtr="0">
            <a:noAutofit/>
          </a:bodyPr>
          <a:lstStyle>
            <a:lvl1pPr algn="l" defTabSz="914377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36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indent="-342900" fontAlgn="base">
              <a:buFont typeface="Arial" panose="020B0604020202020204" pitchFamily="34" charset="0"/>
              <a:buChar char="•"/>
            </a:pPr>
            <a:r>
              <a:rPr lang="en-GB" sz="2000" b="0" dirty="0"/>
              <a:t>Poly = many: polygon = many-sided</a:t>
            </a:r>
          </a:p>
          <a:p>
            <a:pPr marL="342900" indent="-342900" fontAlgn="base">
              <a:buFont typeface="Arial" panose="020B0604020202020204" pitchFamily="34" charset="0"/>
              <a:buChar char="•"/>
            </a:pPr>
            <a:r>
              <a:rPr lang="en-GB" sz="2000" b="0" dirty="0"/>
              <a:t>Morph = change or form: Morpheus = the Greek god of dreams able to take any form.</a:t>
            </a:r>
          </a:p>
          <a:p>
            <a:pPr fontAlgn="base"/>
            <a:endParaRPr lang="en-GB" sz="2000" b="0" dirty="0"/>
          </a:p>
          <a:p>
            <a:pPr fontAlgn="base"/>
            <a:r>
              <a:rPr lang="en-GB" sz="2000" b="0" dirty="0"/>
              <a:t>So polymorphism is the ability (in programming) to present the same interface for differing underlying forms (data types).</a:t>
            </a:r>
          </a:p>
          <a:p>
            <a:endParaRPr lang="en-GB" sz="2600" dirty="0"/>
          </a:p>
          <a:p>
            <a:endParaRPr lang="en-GB" sz="2600" dirty="0"/>
          </a:p>
        </p:txBody>
      </p:sp>
    </p:spTree>
    <p:extLst>
      <p:ext uri="{BB962C8B-B14F-4D97-AF65-F5344CB8AC3E}">
        <p14:creationId xmlns:p14="http://schemas.microsoft.com/office/powerpoint/2010/main" val="42588857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NDO_REDO_REVISION" val="0"/>
  <p:tag name="DEFAULTLANGUAGEID" val="1031"/>
  <p:tag name="VCT_SHOW_CA" val="False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8.6rAp3NnqIxy_Aw1ETc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8.6rAp3NnqIxy_Aw1ETc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chwarz Gruppe">
  <a:themeElements>
    <a:clrScheme name="Schwarz Gruppe">
      <a:dk1>
        <a:srgbClr val="000000"/>
      </a:dk1>
      <a:lt1>
        <a:srgbClr val="FFFFFF"/>
      </a:lt1>
      <a:dk2>
        <a:srgbClr val="C6C6C6"/>
      </a:dk2>
      <a:lt2>
        <a:srgbClr val="EBEBEB"/>
      </a:lt2>
      <a:accent1>
        <a:srgbClr val="6E1E6E"/>
      </a:accent1>
      <a:accent2>
        <a:srgbClr val="5F7DAA"/>
      </a:accent2>
      <a:accent3>
        <a:srgbClr val="FFD746"/>
      </a:accent3>
      <a:accent4>
        <a:srgbClr val="41053C"/>
      </a:accent4>
      <a:accent5>
        <a:srgbClr val="505050"/>
      </a:accent5>
      <a:accent6>
        <a:srgbClr val="878787"/>
      </a:accent6>
      <a:hlink>
        <a:srgbClr val="6E1E6E"/>
      </a:hlink>
      <a:folHlink>
        <a:srgbClr val="8787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600" dirty="0" err="1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 marL="285750" indent="-285750" algn="l">
          <a:spcAft>
            <a:spcPts val="600"/>
          </a:spcAft>
          <a:buClr>
            <a:schemeClr val="accent1"/>
          </a:buClr>
          <a:buFont typeface="Wingdings" panose="05000000000000000000" pitchFamily="2" charset="2"/>
          <a:buChar char="§"/>
          <a:defRPr sz="1600" dirty="0" err="1" smtClean="0"/>
        </a:defPPr>
      </a:lstStyle>
    </a:txDef>
  </a:objectDefaults>
  <a:extraClrSchemeLst/>
  <a:custClrLst>
    <a:custClr name="Dunkellila">
      <a:srgbClr val="41053C"/>
    </a:custClr>
    <a:custClr name="Blau">
      <a:srgbClr val="5F7DAA"/>
    </a:custClr>
    <a:custClr name="Goldgelb">
      <a:srgbClr val="FFD746"/>
    </a:custClr>
    <a:custClr name="Signal-Rot">
      <a:srgbClr val="E3000F"/>
    </a:custClr>
    <a:custClr name="#">
      <a:srgbClr val="FFFFFF"/>
    </a:custClr>
    <a:custClr name="#">
      <a:srgbClr val="FFFFFF"/>
    </a:custClr>
    <a:custClr name="#">
      <a:srgbClr val="FFFFFF"/>
    </a:custClr>
    <a:custClr name="#">
      <a:srgbClr val="FFFFFF"/>
    </a:custClr>
    <a:custClr name="#">
      <a:srgbClr val="FFFFFF"/>
    </a:custClr>
    <a:custClr name="#">
      <a:srgbClr val="FFFFFF"/>
    </a:custClr>
    <a:custClr name="Logo-Grau">
      <a:srgbClr val="9D9D9D"/>
    </a:custClr>
    <a:custClr name="Blau">
      <a:srgbClr val="4B6487"/>
    </a:custClr>
    <a:custClr name="Goldgelb">
      <a:srgbClr val="E6B43C"/>
    </a:custClr>
    <a:custClr name="Signal-Gelb">
      <a:srgbClr val="FFF000"/>
    </a:custClr>
    <a:custClr name="#">
      <a:srgbClr val="FFFFFF"/>
    </a:custClr>
    <a:custClr name="#">
      <a:srgbClr val="FFFFFF"/>
    </a:custClr>
    <a:custClr name="#">
      <a:srgbClr val="FFFFFF"/>
    </a:custClr>
    <a:custClr name="#">
      <a:srgbClr val="FFFFFF"/>
    </a:custClr>
    <a:custClr name="#">
      <a:srgbClr val="FFFFFF"/>
    </a:custClr>
    <a:custClr name="#">
      <a:srgbClr val="FFFFFF"/>
    </a:custClr>
    <a:custClr name="#">
      <a:srgbClr val="FFFFFF"/>
    </a:custClr>
    <a:custClr name="Blau">
      <a:srgbClr val="3C506E"/>
    </a:custClr>
    <a:custClr name="Goldgelb">
      <a:srgbClr val="C8912D"/>
    </a:custClr>
    <a:custClr name="Signal-Grün">
      <a:srgbClr val="05A54B"/>
    </a:custClr>
    <a:custClr name="#">
      <a:srgbClr val="FFFFFF"/>
    </a:custClr>
    <a:custClr name="#">
      <a:srgbClr val="FFFFFF"/>
    </a:custClr>
    <a:custClr name="#">
      <a:srgbClr val="FFFFFF"/>
    </a:custClr>
    <a:custClr name="#">
      <a:srgbClr val="FFFFFF"/>
    </a:custClr>
    <a:custClr name="#">
      <a:srgbClr val="FFFFFF"/>
    </a:custClr>
    <a:custClr name="#">
      <a:srgbClr val="FFFFFF"/>
    </a:custClr>
    <a:custClr name="#">
      <a:srgbClr val="FFFFFF"/>
    </a:custClr>
    <a:custClr name="Blau">
      <a:srgbClr val="2D3C50"/>
    </a:custClr>
    <a:custClr name="Goldgelb">
      <a:srgbClr val="AF6E00"/>
    </a:custClr>
    <a:custClr name="#">
      <a:srgbClr val="FFFFFF"/>
    </a:custClr>
    <a:custClr name="#">
      <a:srgbClr val="FFFFFF"/>
    </a:custClr>
    <a:custClr name="#">
      <a:srgbClr val="FFFFFF"/>
    </a:custClr>
    <a:custClr name="#">
      <a:srgbClr val="FFFFFF"/>
    </a:custClr>
    <a:custClr name="#">
      <a:srgbClr val="FFFFFF"/>
    </a:custClr>
    <a:custClr name="#">
      <a:srgbClr val="FFFFFF"/>
    </a:custClr>
    <a:custClr name="#">
      <a:srgbClr val="FFFFFF"/>
    </a:custClr>
  </a:custClrLst>
  <a:extLst>
    <a:ext uri="{05A4C25C-085E-4340-85A3-A5531E510DB2}">
      <thm15:themeFamily xmlns:thm15="http://schemas.microsoft.com/office/thememl/2012/main" name="SIT-template_2021" id="{E151DE57-95BA-4140-8060-14DB85370DCF}" vid="{12A09950-C146-0948-9499-8C9099AA7A76}"/>
    </a:ext>
  </a:extLst>
</a:theme>
</file>

<file path=ppt/theme/theme2.xml><?xml version="1.0" encoding="utf-8"?>
<a:theme xmlns:a="http://schemas.openxmlformats.org/drawingml/2006/main" name="Office">
  <a:themeElements>
    <a:clrScheme name="Schwarz Gruppe">
      <a:dk1>
        <a:srgbClr val="000000"/>
      </a:dk1>
      <a:lt1>
        <a:srgbClr val="FFFFFF"/>
      </a:lt1>
      <a:dk2>
        <a:srgbClr val="C6C6C6"/>
      </a:dk2>
      <a:lt2>
        <a:srgbClr val="EBEBEB"/>
      </a:lt2>
      <a:accent1>
        <a:srgbClr val="6E1E6E"/>
      </a:accent1>
      <a:accent2>
        <a:srgbClr val="5F7DAA"/>
      </a:accent2>
      <a:accent3>
        <a:srgbClr val="FFD746"/>
      </a:accent3>
      <a:accent4>
        <a:srgbClr val="41053C"/>
      </a:accent4>
      <a:accent5>
        <a:srgbClr val="505050"/>
      </a:accent5>
      <a:accent6>
        <a:srgbClr val="878787"/>
      </a:accent6>
      <a:hlink>
        <a:srgbClr val="6E1E6E"/>
      </a:hlink>
      <a:folHlink>
        <a:srgbClr val="8787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Schwarz Gruppe">
      <a:dk1>
        <a:srgbClr val="000000"/>
      </a:dk1>
      <a:lt1>
        <a:srgbClr val="FFFFFF"/>
      </a:lt1>
      <a:dk2>
        <a:srgbClr val="AFAFAF"/>
      </a:dk2>
      <a:lt2>
        <a:srgbClr val="EBEBEB"/>
      </a:lt2>
      <a:accent1>
        <a:srgbClr val="6E1E6E"/>
      </a:accent1>
      <a:accent2>
        <a:srgbClr val="465A78"/>
      </a:accent2>
      <a:accent3>
        <a:srgbClr val="FFD25A"/>
      </a:accent3>
      <a:accent4>
        <a:srgbClr val="4B053C"/>
      </a:accent4>
      <a:accent5>
        <a:srgbClr val="505050"/>
      </a:accent5>
      <a:accent6>
        <a:srgbClr val="878787"/>
      </a:accent6>
      <a:hlink>
        <a:srgbClr val="6E1E6E"/>
      </a:hlink>
      <a:folHlink>
        <a:srgbClr val="AFAFA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0DE09474657F27438623D9D86FCCF1AC" ma:contentTypeVersion="10" ma:contentTypeDescription="Създаване на нов документ" ma:contentTypeScope="" ma:versionID="c7bd215bf4baef0c45a03b41cd49f0a1">
  <xsd:schema xmlns:xsd="http://www.w3.org/2001/XMLSchema" xmlns:xs="http://www.w3.org/2001/XMLSchema" xmlns:p="http://schemas.microsoft.com/office/2006/metadata/properties" xmlns:ns2="fbfa9b6d-9305-493b-88ae-6d03706e6ce4" xmlns:ns3="2c0f648d-758d-4595-8f1d-259cae20b8ca" targetNamespace="http://schemas.microsoft.com/office/2006/metadata/properties" ma:root="true" ma:fieldsID="9f8fcc0948e590fef699ea338f03c490" ns2:_="" ns3:_="">
    <xsd:import namespace="fbfa9b6d-9305-493b-88ae-6d03706e6ce4"/>
    <xsd:import namespace="2c0f648d-758d-4595-8f1d-259cae20b8c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bfa9b6d-9305-493b-88ae-6d03706e6ce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c0f648d-758d-4595-8f1d-259cae20b8ca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Споделено с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Споделени с подробности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съдържание"/>
        <xsd:element ref="dc:title" minOccurs="0" maxOccurs="1" ma:index="4" ma:displayName="Заглав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9DE14B2-E77B-4DFB-BEC0-FD78C7AB7D3A}">
  <ds:schemaRefs>
    <ds:schemaRef ds:uri="2c0f648d-758d-4595-8f1d-259cae20b8ca"/>
    <ds:schemaRef ds:uri="fbfa9b6d-9305-493b-88ae-6d03706e6ce4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DF3BD10E-A445-4B79-8425-7E6BC305B712}">
  <ds:schemaRefs>
    <ds:schemaRef ds:uri="2c0f648d-758d-4595-8f1d-259cae20b8ca"/>
    <ds:schemaRef ds:uri="fbfa9b6d-9305-493b-88ae-6d03706e6ce4"/>
    <ds:schemaRef ds:uri="http://purl.org/dc/elements/1.1/"/>
    <ds:schemaRef ds:uri="http://purl.org/dc/dcmitype/"/>
    <ds:schemaRef ds:uri="http://schemas.microsoft.com/office/2006/documentManagement/types"/>
    <ds:schemaRef ds:uri="http://purl.org/dc/terms/"/>
    <ds:schemaRef ds:uri="http://schemas.microsoft.com/office/2006/metadata/properties"/>
    <ds:schemaRef ds:uri="http://www.w3.org/XML/1998/namespace"/>
    <ds:schemaRef ds:uri="http://schemas.microsoft.com/office/infopath/2007/PartnerControls"/>
    <ds:schemaRef ds:uri="http://schemas.openxmlformats.org/package/2006/metadata/core-properties"/>
  </ds:schemaRefs>
</ds:datastoreItem>
</file>

<file path=customXml/itemProps3.xml><?xml version="1.0" encoding="utf-8"?>
<ds:datastoreItem xmlns:ds="http://schemas.openxmlformats.org/officeDocument/2006/customXml" ds:itemID="{9153E187-431F-414A-BA23-E95A1D4A8E8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chwarz Gruppe</Template>
  <TotalTime>6934</TotalTime>
  <Words>402</Words>
  <Application>Microsoft Macintosh PowerPoint</Application>
  <PresentationFormat>Widescreen</PresentationFormat>
  <Paragraphs>84</Paragraphs>
  <Slides>10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5" baseType="lpstr">
      <vt:lpstr>Arial</vt:lpstr>
      <vt:lpstr>Symbol</vt:lpstr>
      <vt:lpstr>Wingdings</vt:lpstr>
      <vt:lpstr>Schwarz Gruppe</vt:lpstr>
      <vt:lpstr>think-cell Folie</vt:lpstr>
      <vt:lpstr>Object Oriented Programing with Java</vt:lpstr>
      <vt:lpstr>Agenda</vt:lpstr>
      <vt:lpstr>What OOP is?</vt:lpstr>
      <vt:lpstr>Pros and Cons?</vt:lpstr>
      <vt:lpstr>How a Java class looks like</vt:lpstr>
      <vt:lpstr>Encapsulation</vt:lpstr>
      <vt:lpstr>Inheritance</vt:lpstr>
      <vt:lpstr>Abstraction</vt:lpstr>
      <vt:lpstr>Polymorphism</vt:lpstr>
      <vt:lpstr>Specific types of a clas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droid Basics 1</dc:title>
  <dc:creator>Denislav Popov (Денислав Попов)</dc:creator>
  <dc:description>Optimiert für Office 2016</dc:description>
  <cp:lastModifiedBy>Stefan Stefanov (Стефан Стефанов)</cp:lastModifiedBy>
  <cp:revision>8</cp:revision>
  <dcterms:created xsi:type="dcterms:W3CDTF">2022-06-20T14:56:32Z</dcterms:created>
  <dcterms:modified xsi:type="dcterms:W3CDTF">2022-07-03T04:14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DE09474657F27438623D9D86FCCF1AC</vt:lpwstr>
  </property>
</Properties>
</file>